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0" r:id="rId5"/>
  </p:sldMasterIdLst>
  <p:notesMasterIdLst>
    <p:notesMasterId r:id="rId11"/>
  </p:notesMasterIdLst>
  <p:handoutMasterIdLst>
    <p:handoutMasterId r:id="rId12"/>
  </p:handoutMasterIdLst>
  <p:sldIdLst>
    <p:sldId id="612" r:id="rId6"/>
    <p:sldId id="614" r:id="rId7"/>
    <p:sldId id="10919" r:id="rId8"/>
    <p:sldId id="613" r:id="rId9"/>
    <p:sldId id="504" r:id="rId10"/>
  </p:sldIdLst>
  <p:sldSz cx="9144000" cy="6858000" type="screen4x3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A60E"/>
    <a:srgbClr val="A6C686"/>
    <a:srgbClr val="349D96"/>
    <a:srgbClr val="A0A0A0"/>
    <a:srgbClr val="E8E8E8"/>
    <a:srgbClr val="99CCFF"/>
    <a:srgbClr val="E6E6E6"/>
    <a:srgbClr val="ECECEC"/>
    <a:srgbClr val="F5F5F5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56" autoAdjust="0"/>
    <p:restoredTop sz="95394" autoAdjust="0"/>
  </p:normalViewPr>
  <p:slideViewPr>
    <p:cSldViewPr snapToGrid="0">
      <p:cViewPr varScale="1">
        <p:scale>
          <a:sx n="112" d="100"/>
          <a:sy n="112" d="100"/>
        </p:scale>
        <p:origin x="736" y="19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-250"/>
    </p:cViewPr>
  </p:sorterViewPr>
  <p:notesViewPr>
    <p:cSldViewPr snapToGrid="0">
      <p:cViewPr varScale="1">
        <p:scale>
          <a:sx n="64" d="100"/>
          <a:sy n="64" d="100"/>
        </p:scale>
        <p:origin x="3086" y="6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0FCB1EE-2BEC-488D-BFFA-AAD7DB36B65D}" type="datetimeFigureOut">
              <a:rPr lang="en-US" smtClean="0"/>
              <a:t>10/27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6AE80EB-E534-444C-9847-504A6B1C86D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8909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0D67E38-3A4A-4F40-8FC3-E34E8B562FD6}" type="datetimeFigureOut">
              <a:rPr lang="en-US" smtClean="0"/>
              <a:t>10/27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204FE9C-24EC-442B-850F-65B0BA925E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305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b="0" i="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04FE9C-24EC-442B-850F-65B0BA925E1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6958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8466" y="-8468"/>
            <a:ext cx="9169804" cy="6874935"/>
            <a:chOff x="-8466" y="-8468"/>
            <a:chExt cx="9169804" cy="6874935"/>
          </a:xfrm>
        </p:grpSpPr>
        <p:cxnSp>
          <p:nvCxnSpPr>
            <p:cNvPr id="17" name="Straight Connector 16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Freeform 18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Freeform 19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Freeform 20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21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Freeform 22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Freeform 23"/>
            <p:cNvSpPr/>
            <p:nvPr/>
          </p:nvSpPr>
          <p:spPr>
            <a:xfrm>
              <a:off x="8077231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Freeform 24"/>
            <p:cNvSpPr/>
            <p:nvPr/>
          </p:nvSpPr>
          <p:spPr>
            <a:xfrm>
              <a:off x="8060297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Freeform 27"/>
            <p:cNvSpPr/>
            <p:nvPr/>
          </p:nvSpPr>
          <p:spPr>
            <a:xfrm>
              <a:off x="-8466" y="-8468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595" y="2404534"/>
            <a:ext cx="5826719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595" y="4050834"/>
            <a:ext cx="5826719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27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1584513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6347714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4470400"/>
            <a:ext cx="6347714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27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452887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4885" y="609600"/>
            <a:ext cx="607218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01074" y="3632200"/>
            <a:ext cx="541980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470400"/>
            <a:ext cx="6347715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27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482711" y="790378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747699" y="2886556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847071267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8" y="1931988"/>
            <a:ext cx="6347715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27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3307014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4885" y="609600"/>
            <a:ext cx="607218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9597" y="4013200"/>
            <a:ext cx="6347716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27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482711" y="790378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747699" y="2886556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379064959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848" y="609600"/>
            <a:ext cx="6341465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9597" y="4013200"/>
            <a:ext cx="6347716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27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6110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DF080-5E8C-48AD-84E5-6C08B304C14E}" type="datetimeFigureOut">
              <a:rPr lang="en-US" dirty="0"/>
              <a:t>10/27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860033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7312" y="609600"/>
            <a:ext cx="978812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599" y="609600"/>
            <a:ext cx="5195026" cy="525145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27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176359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WA 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6394" y="1"/>
            <a:ext cx="9150394" cy="4572000"/>
          </a:xfrm>
          <a:prstGeom prst="rect">
            <a:avLst/>
          </a:prstGeom>
          <a:effectLst/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1" y="4978398"/>
            <a:ext cx="2304510" cy="1392309"/>
          </a:xfrm>
          <a:prstGeom prst="rect">
            <a:avLst/>
          </a:prstGeom>
        </p:spPr>
      </p:pic>
      <p:sp>
        <p:nvSpPr>
          <p:cNvPr id="8" name="Title 3"/>
          <p:cNvSpPr>
            <a:spLocks noGrp="1"/>
          </p:cNvSpPr>
          <p:nvPr>
            <p:ph type="title" hasCustomPrompt="1"/>
          </p:nvPr>
        </p:nvSpPr>
        <p:spPr>
          <a:xfrm>
            <a:off x="3646826" y="5164666"/>
            <a:ext cx="4785974" cy="1138310"/>
          </a:xfrm>
        </p:spPr>
        <p:txBody>
          <a:bodyPr>
            <a:noAutofit/>
          </a:bodyPr>
          <a:lstStyle>
            <a:lvl1pPr>
              <a:defRPr sz="3000" cap="all" baseline="0"/>
            </a:lvl1pPr>
          </a:lstStyle>
          <a:p>
            <a:pPr lvl="0"/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7902069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/>
          <p:cNvCxnSpPr/>
          <p:nvPr userDrawn="1"/>
        </p:nvCxnSpPr>
        <p:spPr>
          <a:xfrm flipV="1">
            <a:off x="4322814" y="1246349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 hasCustomPrompt="1"/>
          </p:nvPr>
        </p:nvSpPr>
        <p:spPr>
          <a:xfrm>
            <a:off x="-6824" y="680798"/>
            <a:ext cx="9144000" cy="482030"/>
          </a:xfrm>
        </p:spPr>
        <p:txBody>
          <a:bodyPr>
            <a:normAutofit/>
          </a:bodyPr>
          <a:lstStyle>
            <a:lvl1pPr algn="ctr">
              <a:defRPr sz="2700"/>
            </a:lvl1pPr>
          </a:lstStyle>
          <a:p>
            <a:pPr lvl="0"/>
            <a:r>
              <a:rPr lang="en-US" dirty="0"/>
              <a:t>Blank Slide</a:t>
            </a:r>
          </a:p>
        </p:txBody>
      </p:sp>
    </p:spTree>
    <p:extLst>
      <p:ext uri="{BB962C8B-B14F-4D97-AF65-F5344CB8AC3E}">
        <p14:creationId xmlns:p14="http://schemas.microsoft.com/office/powerpoint/2010/main" val="6723245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518258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3402829"/>
            <a:ext cx="2021000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9370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DF080-5E8C-48AD-84E5-6C08B304C14E}" type="datetimeFigureOut">
              <a:rPr lang="en-US" dirty="0"/>
              <a:t>10/27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550022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">
    <p:bg>
      <p:bgPr>
        <a:solidFill>
          <a:srgbClr val="61A60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279" y="3647548"/>
            <a:ext cx="2729532" cy="1186803"/>
          </a:xfrm>
          <a:prstGeom prst="rect">
            <a:avLst/>
          </a:prstGeom>
          <a:ln>
            <a:noFill/>
          </a:ln>
        </p:spPr>
      </p:pic>
      <p:sp>
        <p:nvSpPr>
          <p:cNvPr id="5" name="TextBox 3"/>
          <p:cNvSpPr txBox="1"/>
          <p:nvPr userDrawn="1"/>
        </p:nvSpPr>
        <p:spPr>
          <a:xfrm>
            <a:off x="0" y="5174444"/>
            <a:ext cx="91440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o request this document in another format, call 1-800-525-0127. Deaf or hard of</a:t>
            </a:r>
          </a:p>
          <a:p>
            <a:pPr algn="ctr"/>
            <a:r>
              <a:rPr lang="en-US" sz="16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hearing customers, please call 711 (Washington Relay) or email </a:t>
            </a:r>
            <a:r>
              <a:rPr lang="en-US" sz="1600" u="none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ivil.rights@doh.wa.gov</a:t>
            </a:r>
            <a:r>
              <a:rPr lang="en-US" sz="16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279" y="1071546"/>
            <a:ext cx="2729532" cy="1649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3933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12"/>
          <a:stretch/>
        </p:blipFill>
        <p:spPr>
          <a:xfrm>
            <a:off x="0" y="0"/>
            <a:ext cx="9144000" cy="45910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1" y="4978398"/>
            <a:ext cx="2304510" cy="1392309"/>
          </a:xfrm>
          <a:prstGeom prst="rect">
            <a:avLst/>
          </a:prstGeom>
        </p:spPr>
      </p:pic>
      <p:sp>
        <p:nvSpPr>
          <p:cNvPr id="8" name="Title 3"/>
          <p:cNvSpPr>
            <a:spLocks noGrp="1"/>
          </p:cNvSpPr>
          <p:nvPr>
            <p:ph type="title" hasCustomPrompt="1"/>
          </p:nvPr>
        </p:nvSpPr>
        <p:spPr>
          <a:xfrm>
            <a:off x="3646826" y="5164666"/>
            <a:ext cx="4785974" cy="1138310"/>
          </a:xfrm>
        </p:spPr>
        <p:txBody>
          <a:bodyPr>
            <a:noAutofit/>
          </a:bodyPr>
          <a:lstStyle>
            <a:lvl1pPr>
              <a:defRPr sz="3000" cap="all" baseline="0"/>
            </a:lvl1pPr>
          </a:lstStyle>
          <a:p>
            <a:pPr lvl="0"/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3526177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attle 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9144000" cy="4572000"/>
          </a:xfrm>
          <a:prstGeom prst="rect">
            <a:avLst/>
          </a:prstGeom>
          <a:effectLst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1" y="4978398"/>
            <a:ext cx="2304510" cy="1392309"/>
          </a:xfrm>
          <a:prstGeom prst="rect">
            <a:avLst/>
          </a:prstGeom>
        </p:spPr>
      </p:pic>
      <p:sp>
        <p:nvSpPr>
          <p:cNvPr id="9" name="Title 3"/>
          <p:cNvSpPr>
            <a:spLocks noGrp="1"/>
          </p:cNvSpPr>
          <p:nvPr>
            <p:ph type="title" hasCustomPrompt="1"/>
          </p:nvPr>
        </p:nvSpPr>
        <p:spPr>
          <a:xfrm>
            <a:off x="3646826" y="5164666"/>
            <a:ext cx="4785974" cy="1138310"/>
          </a:xfrm>
        </p:spPr>
        <p:txBody>
          <a:bodyPr>
            <a:noAutofit/>
          </a:bodyPr>
          <a:lstStyle>
            <a:lvl1pPr>
              <a:defRPr sz="3000" cap="all" baseline="0"/>
            </a:lvl1pPr>
          </a:lstStyle>
          <a:p>
            <a:pPr lvl="0"/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62756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rban 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50394" cy="4571998"/>
          </a:xfrm>
          <a:prstGeom prst="rect">
            <a:avLst/>
          </a:prstGeom>
          <a:effectLst/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1" y="4978398"/>
            <a:ext cx="2304510" cy="1392309"/>
          </a:xfrm>
          <a:prstGeom prst="rect">
            <a:avLst/>
          </a:prstGeom>
        </p:spPr>
      </p:pic>
      <p:sp>
        <p:nvSpPr>
          <p:cNvPr id="8" name="Title 3"/>
          <p:cNvSpPr>
            <a:spLocks noGrp="1"/>
          </p:cNvSpPr>
          <p:nvPr>
            <p:ph type="title" hasCustomPrompt="1"/>
          </p:nvPr>
        </p:nvSpPr>
        <p:spPr>
          <a:xfrm>
            <a:off x="3646826" y="5164666"/>
            <a:ext cx="4785974" cy="1138310"/>
          </a:xfrm>
        </p:spPr>
        <p:txBody>
          <a:bodyPr>
            <a:noAutofit/>
          </a:bodyPr>
          <a:lstStyle>
            <a:lvl1pPr>
              <a:defRPr sz="3000" cap="all" baseline="0"/>
            </a:lvl1pPr>
          </a:lstStyle>
          <a:p>
            <a:pPr lvl="0"/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1644854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rstern WA 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9144000" cy="4572000"/>
          </a:xfrm>
          <a:prstGeom prst="rect">
            <a:avLst/>
          </a:prstGeom>
          <a:effectLst/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1" y="4978398"/>
            <a:ext cx="2304510" cy="1392309"/>
          </a:xfrm>
          <a:prstGeom prst="rect">
            <a:avLst/>
          </a:prstGeom>
        </p:spPr>
      </p:pic>
      <p:sp>
        <p:nvSpPr>
          <p:cNvPr id="8" name="Title 3"/>
          <p:cNvSpPr>
            <a:spLocks noGrp="1"/>
          </p:cNvSpPr>
          <p:nvPr>
            <p:ph type="title" hasCustomPrompt="1"/>
          </p:nvPr>
        </p:nvSpPr>
        <p:spPr>
          <a:xfrm>
            <a:off x="3646826" y="5164666"/>
            <a:ext cx="4785974" cy="1138310"/>
          </a:xfrm>
        </p:spPr>
        <p:txBody>
          <a:bodyPr>
            <a:noAutofit/>
          </a:bodyPr>
          <a:lstStyle>
            <a:lvl1pPr>
              <a:defRPr sz="3000" cap="all" baseline="0"/>
            </a:lvl1pPr>
          </a:lstStyle>
          <a:p>
            <a:pPr lvl="0"/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363844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astern WA 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44001" cy="4572000"/>
          </a:xfrm>
          <a:prstGeom prst="rect">
            <a:avLst/>
          </a:prstGeom>
          <a:effectLst/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1" y="4978398"/>
            <a:ext cx="2304510" cy="1392309"/>
          </a:xfrm>
          <a:prstGeom prst="rect">
            <a:avLst/>
          </a:prstGeom>
        </p:spPr>
      </p:pic>
      <p:sp>
        <p:nvSpPr>
          <p:cNvPr id="8" name="Title 3"/>
          <p:cNvSpPr>
            <a:spLocks noGrp="1"/>
          </p:cNvSpPr>
          <p:nvPr>
            <p:ph type="title" hasCustomPrompt="1"/>
          </p:nvPr>
        </p:nvSpPr>
        <p:spPr>
          <a:xfrm>
            <a:off x="3646826" y="5164666"/>
            <a:ext cx="4785974" cy="1138310"/>
          </a:xfrm>
        </p:spPr>
        <p:txBody>
          <a:bodyPr>
            <a:noAutofit/>
          </a:bodyPr>
          <a:lstStyle>
            <a:lvl1pPr>
              <a:defRPr sz="3000" cap="all" baseline="0"/>
            </a:lvl1pPr>
          </a:lstStyle>
          <a:p>
            <a:pPr lvl="0"/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028703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-1"/>
            <a:ext cx="9144001" cy="4572001"/>
          </a:xfrm>
          <a:prstGeom prst="rect">
            <a:avLst/>
          </a:prstGeom>
          <a:effectLst/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1" y="4978398"/>
            <a:ext cx="2304510" cy="1392309"/>
          </a:xfrm>
          <a:prstGeom prst="rect">
            <a:avLst/>
          </a:prstGeom>
        </p:spPr>
      </p:pic>
      <p:sp>
        <p:nvSpPr>
          <p:cNvPr id="8" name="Title 3"/>
          <p:cNvSpPr>
            <a:spLocks noGrp="1"/>
          </p:cNvSpPr>
          <p:nvPr>
            <p:ph type="title" hasCustomPrompt="1"/>
          </p:nvPr>
        </p:nvSpPr>
        <p:spPr>
          <a:xfrm>
            <a:off x="3646826" y="5164666"/>
            <a:ext cx="4785974" cy="1138310"/>
          </a:xfrm>
        </p:spPr>
        <p:txBody>
          <a:bodyPr>
            <a:noAutofit/>
          </a:bodyPr>
          <a:lstStyle>
            <a:lvl1pPr>
              <a:defRPr sz="3000" cap="all" baseline="0"/>
            </a:lvl1pPr>
          </a:lstStyle>
          <a:p>
            <a:pPr lvl="0"/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7944092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 Ad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4572000"/>
          </a:xfrm>
          <a:effectLst/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1" y="4978398"/>
            <a:ext cx="2304510" cy="1392309"/>
          </a:xfrm>
          <a:prstGeom prst="rect">
            <a:avLst/>
          </a:prstGeom>
        </p:spPr>
      </p:pic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3646826" y="5164666"/>
            <a:ext cx="4785974" cy="1138310"/>
          </a:xfrm>
        </p:spPr>
        <p:txBody>
          <a:bodyPr>
            <a:noAutofit/>
          </a:bodyPr>
          <a:lstStyle>
            <a:lvl1pPr>
              <a:defRPr sz="3000" cap="all" baseline="0"/>
            </a:lvl1pPr>
          </a:lstStyle>
          <a:p>
            <a:pPr lvl="0"/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6030508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/>
          <p:cNvSpPr>
            <a:spLocks noGrp="1"/>
          </p:cNvSpPr>
          <p:nvPr>
            <p:ph type="pic" sz="quarter" idx="14"/>
          </p:nvPr>
        </p:nvSpPr>
        <p:spPr>
          <a:xfrm>
            <a:off x="4908550" y="2239963"/>
            <a:ext cx="2473325" cy="2487612"/>
          </a:xfrm>
          <a:effectLst/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1817688" y="2239963"/>
            <a:ext cx="2484437" cy="2487612"/>
          </a:xfrm>
          <a:effectLst/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-8313" y="1115870"/>
            <a:ext cx="9143999" cy="350440"/>
          </a:xfrm>
        </p:spPr>
        <p:txBody>
          <a:bodyPr>
            <a:noAutofit/>
          </a:bodyPr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@ location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-8313" y="1539191"/>
            <a:ext cx="9143999" cy="304800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817689" y="4968656"/>
            <a:ext cx="2484436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901550" y="4966303"/>
            <a:ext cx="2487133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7" hasCustomPrompt="1"/>
          </p:nvPr>
        </p:nvSpPr>
        <p:spPr>
          <a:xfrm>
            <a:off x="1817688" y="5402254"/>
            <a:ext cx="2484437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01551" y="5402060"/>
            <a:ext cx="2487132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9" hasCustomPrompt="1"/>
          </p:nvPr>
        </p:nvSpPr>
        <p:spPr>
          <a:xfrm>
            <a:off x="1817688" y="5746218"/>
            <a:ext cx="2484437" cy="37465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4908129" y="5742722"/>
            <a:ext cx="2484437" cy="37465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15" name="Title 2"/>
          <p:cNvSpPr>
            <a:spLocks noGrp="1"/>
          </p:cNvSpPr>
          <p:nvPr>
            <p:ph type="title" hasCustomPrompt="1"/>
          </p:nvPr>
        </p:nvSpPr>
        <p:spPr>
          <a:xfrm>
            <a:off x="0" y="673319"/>
            <a:ext cx="9144000" cy="437941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Subtitle 1</a:t>
            </a:r>
          </a:p>
        </p:txBody>
      </p:sp>
    </p:spTree>
    <p:extLst>
      <p:ext uri="{BB962C8B-B14F-4D97-AF65-F5344CB8AC3E}">
        <p14:creationId xmlns:p14="http://schemas.microsoft.com/office/powerpoint/2010/main" val="39033531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/>
          <p:cNvSpPr>
            <a:spLocks noGrp="1"/>
          </p:cNvSpPr>
          <p:nvPr>
            <p:ph type="pic" sz="quarter" idx="14"/>
          </p:nvPr>
        </p:nvSpPr>
        <p:spPr>
          <a:xfrm>
            <a:off x="4908550" y="2103883"/>
            <a:ext cx="2473325" cy="248761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1817688" y="2103883"/>
            <a:ext cx="2484437" cy="248761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-8313" y="1248908"/>
            <a:ext cx="9143999" cy="304800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817689" y="4832576"/>
            <a:ext cx="2484436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901550" y="4830223"/>
            <a:ext cx="2487133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7" hasCustomPrompt="1"/>
          </p:nvPr>
        </p:nvSpPr>
        <p:spPr>
          <a:xfrm>
            <a:off x="1817688" y="5266174"/>
            <a:ext cx="2484437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901551" y="5265980"/>
            <a:ext cx="2487132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9" hasCustomPrompt="1"/>
          </p:nvPr>
        </p:nvSpPr>
        <p:spPr>
          <a:xfrm>
            <a:off x="1817688" y="5610138"/>
            <a:ext cx="2484437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4908129" y="5606642"/>
            <a:ext cx="2484437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flipV="1">
            <a:off x="4322814" y="1699836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-8313" y="677873"/>
            <a:ext cx="9135686" cy="454236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Subtitle 2</a:t>
            </a:r>
          </a:p>
        </p:txBody>
      </p:sp>
    </p:spTree>
    <p:extLst>
      <p:ext uri="{BB962C8B-B14F-4D97-AF65-F5344CB8AC3E}">
        <p14:creationId xmlns:p14="http://schemas.microsoft.com/office/powerpoint/2010/main" val="16167977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8" y="2700868"/>
            <a:ext cx="6347715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27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992137"/>
      </p:ext>
    </p:extLst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 Slide 1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/>
          <p:cNvCxnSpPr/>
          <p:nvPr userDrawn="1"/>
        </p:nvCxnSpPr>
        <p:spPr>
          <a:xfrm flipV="1">
            <a:off x="4322814" y="1246349"/>
            <a:ext cx="499998" cy="1369"/>
          </a:xfrm>
          <a:prstGeom prst="line">
            <a:avLst/>
          </a:prstGeom>
          <a:ln w="50800">
            <a:solidFill>
              <a:srgbClr val="CB8A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flipV="1">
            <a:off x="4322814" y="1246747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792974" y="4739028"/>
            <a:ext cx="2509151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883836" y="4736675"/>
            <a:ext cx="2473325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7" hasCustomPrompt="1"/>
          </p:nvPr>
        </p:nvSpPr>
        <p:spPr>
          <a:xfrm>
            <a:off x="1792974" y="5172622"/>
            <a:ext cx="2509151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883836" y="5172428"/>
            <a:ext cx="2473325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9" hasCustomPrompt="1"/>
          </p:nvPr>
        </p:nvSpPr>
        <p:spPr>
          <a:xfrm>
            <a:off x="1792974" y="5522974"/>
            <a:ext cx="2509151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4883836" y="5519478"/>
            <a:ext cx="2473325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45" name="Picture Placeholder 19"/>
          <p:cNvSpPr>
            <a:spLocks noGrp="1"/>
          </p:cNvSpPr>
          <p:nvPr>
            <p:ph type="pic" sz="quarter" idx="14"/>
          </p:nvPr>
        </p:nvSpPr>
        <p:spPr>
          <a:xfrm>
            <a:off x="4883836" y="2010333"/>
            <a:ext cx="2473325" cy="248761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6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1792974" y="2010333"/>
            <a:ext cx="2484437" cy="248761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9472" y="666762"/>
            <a:ext cx="9152311" cy="489242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Presenters 1</a:t>
            </a:r>
          </a:p>
        </p:txBody>
      </p:sp>
    </p:spTree>
    <p:extLst>
      <p:ext uri="{BB962C8B-B14F-4D97-AF65-F5344CB8AC3E}">
        <p14:creationId xmlns:p14="http://schemas.microsoft.com/office/powerpoint/2010/main" val="20348237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/>
          <p:cNvCxnSpPr/>
          <p:nvPr userDrawn="1"/>
        </p:nvCxnSpPr>
        <p:spPr>
          <a:xfrm flipV="1">
            <a:off x="4322814" y="1246349"/>
            <a:ext cx="499998" cy="1369"/>
          </a:xfrm>
          <a:prstGeom prst="line">
            <a:avLst/>
          </a:prstGeom>
          <a:ln w="50800">
            <a:solidFill>
              <a:srgbClr val="CB8A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flipV="1">
            <a:off x="4322814" y="1246747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792974" y="2628231"/>
            <a:ext cx="2509151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883836" y="2625878"/>
            <a:ext cx="2473325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7" hasCustomPrompt="1"/>
          </p:nvPr>
        </p:nvSpPr>
        <p:spPr>
          <a:xfrm>
            <a:off x="1792974" y="3061825"/>
            <a:ext cx="2509151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883836" y="3061631"/>
            <a:ext cx="2473325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9" hasCustomPrompt="1"/>
          </p:nvPr>
        </p:nvSpPr>
        <p:spPr>
          <a:xfrm>
            <a:off x="1792974" y="3412177"/>
            <a:ext cx="2509151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4883836" y="3408681"/>
            <a:ext cx="2473325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-8311" y="673575"/>
            <a:ext cx="9143998" cy="482428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Presenters 2</a:t>
            </a:r>
          </a:p>
        </p:txBody>
      </p:sp>
    </p:spTree>
    <p:extLst>
      <p:ext uri="{BB962C8B-B14F-4D97-AF65-F5344CB8AC3E}">
        <p14:creationId xmlns:p14="http://schemas.microsoft.com/office/powerpoint/2010/main" val="7480667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/>
          <p:cNvCxnSpPr/>
          <p:nvPr userDrawn="1"/>
        </p:nvCxnSpPr>
        <p:spPr>
          <a:xfrm flipV="1">
            <a:off x="4322814" y="1246349"/>
            <a:ext cx="499998" cy="1369"/>
          </a:xfrm>
          <a:prstGeom prst="line">
            <a:avLst/>
          </a:prstGeom>
          <a:ln w="50800">
            <a:solidFill>
              <a:srgbClr val="CB8A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flipV="1">
            <a:off x="4322814" y="1246747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512814" y="2628231"/>
            <a:ext cx="2509151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3329356" y="2625878"/>
            <a:ext cx="2473325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7" hasCustomPrompt="1"/>
          </p:nvPr>
        </p:nvSpPr>
        <p:spPr>
          <a:xfrm>
            <a:off x="512814" y="3061825"/>
            <a:ext cx="2509151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3329356" y="3061631"/>
            <a:ext cx="2473325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9" hasCustomPrompt="1"/>
          </p:nvPr>
        </p:nvSpPr>
        <p:spPr>
          <a:xfrm>
            <a:off x="512814" y="3412177"/>
            <a:ext cx="2509151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3329356" y="3408681"/>
            <a:ext cx="2473325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22" hasCustomPrompt="1"/>
          </p:nvPr>
        </p:nvSpPr>
        <p:spPr>
          <a:xfrm>
            <a:off x="6110072" y="2625878"/>
            <a:ext cx="2509151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2" name="Text Placeholder 24"/>
          <p:cNvSpPr>
            <a:spLocks noGrp="1"/>
          </p:cNvSpPr>
          <p:nvPr>
            <p:ph type="body" sz="quarter" idx="23" hasCustomPrompt="1"/>
          </p:nvPr>
        </p:nvSpPr>
        <p:spPr>
          <a:xfrm>
            <a:off x="6110072" y="3059472"/>
            <a:ext cx="2509151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27"/>
          <p:cNvSpPr>
            <a:spLocks noGrp="1"/>
          </p:cNvSpPr>
          <p:nvPr>
            <p:ph type="body" sz="quarter" idx="24" hasCustomPrompt="1"/>
          </p:nvPr>
        </p:nvSpPr>
        <p:spPr>
          <a:xfrm>
            <a:off x="6110072" y="3409824"/>
            <a:ext cx="2509151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1" y="673774"/>
            <a:ext cx="9144000" cy="482428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Presenters 3</a:t>
            </a:r>
          </a:p>
        </p:txBody>
      </p:sp>
    </p:spTree>
    <p:extLst>
      <p:ext uri="{BB962C8B-B14F-4D97-AF65-F5344CB8AC3E}">
        <p14:creationId xmlns:p14="http://schemas.microsoft.com/office/powerpoint/2010/main" val="12823646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 flipV="1">
            <a:off x="4324139" y="2815173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-1" y="3229980"/>
            <a:ext cx="9135687" cy="1111250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hapter 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138" y="2256441"/>
            <a:ext cx="9143999" cy="478522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8267" y="451914"/>
            <a:ext cx="2167466" cy="1309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3412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V="1">
            <a:off x="4322814" y="1246349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808278" y="1606082"/>
            <a:ext cx="7553207" cy="4662833"/>
          </a:xfrm>
        </p:spPr>
        <p:txBody>
          <a:bodyPr>
            <a:noAutofit/>
          </a:bodyPr>
          <a:lstStyle>
            <a:lvl1pPr marL="0" indent="0">
              <a:buClr>
                <a:srgbClr val="57B6AF"/>
              </a:buClr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>
              <a:buClr>
                <a:srgbClr val="57B6AF"/>
              </a:buClr>
              <a:defRPr sz="2000"/>
            </a:lvl2pPr>
            <a:lvl3pPr>
              <a:buClr>
                <a:srgbClr val="57B6AF"/>
              </a:buClr>
              <a:defRPr sz="1800"/>
            </a:lvl3pPr>
            <a:lvl4pPr>
              <a:buClr>
                <a:srgbClr val="57B6AF"/>
              </a:buClr>
              <a:defRPr sz="1800"/>
            </a:lvl4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56" y="673974"/>
            <a:ext cx="9135687" cy="482030"/>
          </a:xfrm>
        </p:spPr>
        <p:txBody>
          <a:bodyPr/>
          <a:lstStyle>
            <a:lvl1pPr algn="ctr">
              <a:defRPr sz="3000"/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1238467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ordered Lis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val 14"/>
          <p:cNvSpPr/>
          <p:nvPr/>
        </p:nvSpPr>
        <p:spPr>
          <a:xfrm>
            <a:off x="846099" y="2076018"/>
            <a:ext cx="246989" cy="294275"/>
          </a:xfrm>
          <a:prstGeom prst="ellipse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>
                <a:solidFill>
                  <a:srgbClr val="61A60E"/>
                </a:solidFill>
                <a:sym typeface="Wingdings" panose="05000000000000000000" pitchFamily="2" charset="2"/>
              </a:rPr>
              <a:t></a:t>
            </a:r>
            <a:endParaRPr lang="en-US" sz="4000" dirty="0">
              <a:solidFill>
                <a:srgbClr val="61A60E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4866115" y="2076017"/>
            <a:ext cx="246989" cy="294275"/>
          </a:xfrm>
          <a:prstGeom prst="ellipse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>
                <a:solidFill>
                  <a:srgbClr val="61A60E"/>
                </a:solidFill>
                <a:sym typeface="Wingdings" panose="05000000000000000000" pitchFamily="2" charset="2"/>
              </a:rPr>
              <a:t></a:t>
            </a:r>
            <a:endParaRPr lang="en-US" sz="4000" dirty="0">
              <a:solidFill>
                <a:srgbClr val="61A60E"/>
              </a:solidFill>
            </a:endParaRPr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1313789" y="2106227"/>
            <a:ext cx="3008973" cy="373362"/>
          </a:xfrm>
        </p:spPr>
        <p:txBody>
          <a:bodyPr>
            <a:no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21" name="Text Placeholder 19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338965" y="2106227"/>
            <a:ext cx="3008973" cy="373362"/>
          </a:xfrm>
        </p:spPr>
        <p:txBody>
          <a:bodyPr>
            <a:no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23" name="Text Placeholder 22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1314450" y="2480364"/>
            <a:ext cx="3008313" cy="3617913"/>
          </a:xfrm>
        </p:spPr>
        <p:txBody>
          <a:bodyPr>
            <a:noAutofit/>
          </a:bodyPr>
          <a:lstStyle>
            <a:lvl1pPr marL="0" indent="0"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24" name="Text Placeholder 22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339625" y="2486904"/>
            <a:ext cx="3008313" cy="3611426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Text…</a:t>
            </a:r>
          </a:p>
        </p:txBody>
      </p:sp>
      <p:cxnSp>
        <p:nvCxnSpPr>
          <p:cNvPr id="25" name="Straight Connector 24"/>
          <p:cNvCxnSpPr/>
          <p:nvPr userDrawn="1"/>
        </p:nvCxnSpPr>
        <p:spPr>
          <a:xfrm flipV="1">
            <a:off x="4322814" y="1246349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0" y="673198"/>
            <a:ext cx="9143998" cy="482805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Unordered List 1</a:t>
            </a:r>
          </a:p>
        </p:txBody>
      </p:sp>
    </p:spTree>
    <p:extLst>
      <p:ext uri="{BB962C8B-B14F-4D97-AF65-F5344CB8AC3E}">
        <p14:creationId xmlns:p14="http://schemas.microsoft.com/office/powerpoint/2010/main" val="3208812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ordered Li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/>
          <p:cNvCxnSpPr/>
          <p:nvPr userDrawn="1"/>
        </p:nvCxnSpPr>
        <p:spPr>
          <a:xfrm flipV="1">
            <a:off x="4322814" y="1246349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/>
          <p:cNvSpPr/>
          <p:nvPr userDrawn="1"/>
        </p:nvSpPr>
        <p:spPr>
          <a:xfrm>
            <a:off x="740595" y="2076018"/>
            <a:ext cx="246989" cy="294275"/>
          </a:xfrm>
          <a:prstGeom prst="ellipse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4000" dirty="0">
                <a:solidFill>
                  <a:srgbClr val="61A60E"/>
                </a:solidFill>
                <a:sym typeface="Wingdings" panose="05000000000000000000" pitchFamily="2" charset="2"/>
              </a:rPr>
              <a:t></a:t>
            </a:r>
            <a:endParaRPr lang="en-US" sz="4000" dirty="0">
              <a:solidFill>
                <a:srgbClr val="61A60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3452408" y="2076017"/>
            <a:ext cx="246989" cy="294275"/>
          </a:xfrm>
          <a:prstGeom prst="ellipse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4000" dirty="0">
                <a:solidFill>
                  <a:srgbClr val="61A60E"/>
                </a:solidFill>
                <a:sym typeface="Wingdings" panose="05000000000000000000" pitchFamily="2" charset="2"/>
              </a:rPr>
              <a:t></a:t>
            </a:r>
            <a:endParaRPr lang="en-US" sz="4000" dirty="0">
              <a:solidFill>
                <a:srgbClr val="61A60E"/>
              </a:solidFill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6162293" y="2078051"/>
            <a:ext cx="246989" cy="294275"/>
          </a:xfrm>
          <a:prstGeom prst="ellipse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4000" dirty="0">
                <a:solidFill>
                  <a:srgbClr val="61A60E"/>
                </a:solidFill>
                <a:sym typeface="Wingdings" panose="05000000000000000000" pitchFamily="2" charset="2"/>
              </a:rPr>
              <a:t></a:t>
            </a:r>
            <a:endParaRPr lang="en-US" sz="4000" dirty="0">
              <a:solidFill>
                <a:srgbClr val="61A60E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208946" y="2097854"/>
            <a:ext cx="1790700" cy="372955"/>
          </a:xfrm>
        </p:spPr>
        <p:txBody>
          <a:bodyPr>
            <a:noAutofit/>
          </a:bodyPr>
          <a:lstStyle>
            <a:lvl1pPr marL="285750" indent="-285750">
              <a:buNone/>
              <a:defRPr lang="en-US" sz="2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3932027" y="2097854"/>
            <a:ext cx="1790700" cy="372955"/>
          </a:xfrm>
        </p:spPr>
        <p:txBody>
          <a:bodyPr>
            <a:noAutofit/>
          </a:bodyPr>
          <a:lstStyle>
            <a:lvl1pPr marL="285750" indent="-285750">
              <a:buNone/>
              <a:defRPr lang="en-US" sz="2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635473" y="2097854"/>
            <a:ext cx="1790700" cy="372955"/>
          </a:xfrm>
        </p:spPr>
        <p:txBody>
          <a:bodyPr>
            <a:noAutofit/>
          </a:bodyPr>
          <a:lstStyle>
            <a:lvl1pPr marL="285750" indent="-285750">
              <a:buNone/>
              <a:defRPr lang="en-US" sz="2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208946" y="2474230"/>
            <a:ext cx="1790700" cy="3702416"/>
          </a:xfrm>
        </p:spPr>
        <p:txBody>
          <a:bodyPr>
            <a:noAutofit/>
          </a:bodyPr>
          <a:lstStyle>
            <a:lvl1pPr marL="285750" indent="-285750"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3931894" y="2474230"/>
            <a:ext cx="1790700" cy="3691680"/>
          </a:xfrm>
        </p:spPr>
        <p:txBody>
          <a:bodyPr>
            <a:noAutofit/>
          </a:bodyPr>
          <a:lstStyle>
            <a:lvl1pPr marL="285750" indent="-285750"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6635033" y="2474230"/>
            <a:ext cx="1790700" cy="3691680"/>
          </a:xfrm>
        </p:spPr>
        <p:txBody>
          <a:bodyPr>
            <a:noAutofit/>
          </a:bodyPr>
          <a:lstStyle>
            <a:lvl1pPr marL="285750" indent="-285750"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0" y="673974"/>
            <a:ext cx="9135687" cy="482030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Unordered List 2</a:t>
            </a:r>
          </a:p>
        </p:txBody>
      </p:sp>
    </p:spTree>
    <p:extLst>
      <p:ext uri="{BB962C8B-B14F-4D97-AF65-F5344CB8AC3E}">
        <p14:creationId xmlns:p14="http://schemas.microsoft.com/office/powerpoint/2010/main" val="3122056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ordered List 3: Tradi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V="1">
            <a:off x="4322814" y="1246349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808278" y="1606082"/>
            <a:ext cx="7553207" cy="4662833"/>
          </a:xfrm>
        </p:spPr>
        <p:txBody>
          <a:bodyPr>
            <a:noAutofit/>
          </a:bodyPr>
          <a:lstStyle>
            <a:lvl1pPr>
              <a:buClr>
                <a:srgbClr val="61A60E"/>
              </a:buClr>
              <a:defRPr sz="2200" baseline="0">
                <a:solidFill>
                  <a:schemeClr val="tx1"/>
                </a:solidFill>
                <a:latin typeface="+mn-lt"/>
              </a:defRPr>
            </a:lvl1pPr>
            <a:lvl2pPr>
              <a:buClr>
                <a:srgbClr val="61A60E"/>
              </a:buClr>
              <a:defRPr sz="2200">
                <a:solidFill>
                  <a:schemeClr val="tx1"/>
                </a:solidFill>
                <a:latin typeface="+mn-lt"/>
              </a:defRPr>
            </a:lvl2pPr>
            <a:lvl3pPr>
              <a:buClr>
                <a:srgbClr val="61A60E"/>
              </a:buClr>
              <a:defRPr sz="2000">
                <a:solidFill>
                  <a:schemeClr val="tx1"/>
                </a:solidFill>
                <a:latin typeface="+mn-lt"/>
              </a:defRPr>
            </a:lvl3pPr>
            <a:lvl4pPr>
              <a:buClr>
                <a:srgbClr val="61A60E"/>
              </a:buClr>
              <a:defRPr sz="1800">
                <a:solidFill>
                  <a:schemeClr val="tx1"/>
                </a:solidFill>
                <a:latin typeface="+mn-lt"/>
              </a:defRPr>
            </a:lvl4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" y="667939"/>
            <a:ext cx="9143998" cy="488064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Unordered List 3: Traditional </a:t>
            </a:r>
          </a:p>
        </p:txBody>
      </p:sp>
    </p:spTree>
    <p:extLst>
      <p:ext uri="{BB962C8B-B14F-4D97-AF65-F5344CB8AC3E}">
        <p14:creationId xmlns:p14="http://schemas.microsoft.com/office/powerpoint/2010/main" val="226771610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 Lis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/>
          <p:cNvCxnSpPr/>
          <p:nvPr userDrawn="1"/>
        </p:nvCxnSpPr>
        <p:spPr>
          <a:xfrm flipV="1">
            <a:off x="4322814" y="1246349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138605" y="2097854"/>
            <a:ext cx="2010831" cy="372955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3861687" y="2097854"/>
            <a:ext cx="2004074" cy="372955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565132" y="2097854"/>
            <a:ext cx="1980989" cy="372955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138606" y="2474230"/>
            <a:ext cx="2010830" cy="3702416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3861553" y="2474230"/>
            <a:ext cx="2004207" cy="3691680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6564693" y="2474230"/>
            <a:ext cx="1981428" cy="3691680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15" name="Oval 14"/>
          <p:cNvSpPr/>
          <p:nvPr userDrawn="1"/>
        </p:nvSpPr>
        <p:spPr>
          <a:xfrm>
            <a:off x="612326" y="2038157"/>
            <a:ext cx="360218" cy="360219"/>
          </a:xfrm>
          <a:prstGeom prst="ellipse">
            <a:avLst/>
          </a:prstGeom>
          <a:solidFill>
            <a:srgbClr val="61A60E"/>
          </a:solidFill>
          <a:ln w="50800">
            <a:solidFill>
              <a:srgbClr val="61A60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/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3325453" y="2038156"/>
            <a:ext cx="360218" cy="360219"/>
          </a:xfrm>
          <a:prstGeom prst="ellipse">
            <a:avLst/>
          </a:prstGeom>
          <a:solidFill>
            <a:srgbClr val="61A60E"/>
          </a:solidFill>
          <a:ln w="50800">
            <a:solidFill>
              <a:srgbClr val="61A60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/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6035338" y="2038155"/>
            <a:ext cx="360218" cy="360219"/>
          </a:xfrm>
          <a:prstGeom prst="ellipse">
            <a:avLst/>
          </a:prstGeom>
          <a:solidFill>
            <a:srgbClr val="61A60E"/>
          </a:solidFill>
          <a:ln w="50800">
            <a:solidFill>
              <a:srgbClr val="61A60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US" sz="1800" dirty="0">
                <a:solidFill>
                  <a:schemeClr val="bg1"/>
                </a:solidFill>
                <a:latin typeface="Century Gothic" panose="020B0502020202020204" pitchFamily="34" charset="0"/>
              </a:rPr>
              <a:t>3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0" y="664077"/>
            <a:ext cx="9135687" cy="491926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Number List 1</a:t>
            </a:r>
          </a:p>
        </p:txBody>
      </p:sp>
    </p:spTree>
    <p:extLst>
      <p:ext uri="{BB962C8B-B14F-4D97-AF65-F5344CB8AC3E}">
        <p14:creationId xmlns:p14="http://schemas.microsoft.com/office/powerpoint/2010/main" val="8351351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 List 2: Tradi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 flipV="1">
            <a:off x="4322814" y="1246349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808279" y="1606082"/>
            <a:ext cx="7544414" cy="4662833"/>
          </a:xfrm>
        </p:spPr>
        <p:txBody>
          <a:bodyPr>
            <a:noAutofit/>
          </a:bodyPr>
          <a:lstStyle>
            <a:lvl1pPr marL="290513" indent="-290513">
              <a:buClr>
                <a:schemeClr val="tx1"/>
              </a:buClr>
              <a:buFont typeface="+mj-lt"/>
              <a:buAutoNum type="arabicPeriod"/>
              <a:tabLst/>
              <a:defRPr sz="2200">
                <a:solidFill>
                  <a:schemeClr val="tx1"/>
                </a:solidFill>
                <a:latin typeface="+mn-lt"/>
              </a:defRPr>
            </a:lvl1pPr>
            <a:lvl2pPr marL="571500" indent="-290513">
              <a:buClr>
                <a:schemeClr val="tx1"/>
              </a:buClr>
              <a:buFont typeface="+mj-lt"/>
              <a:buAutoNum type="alphaLcPeriod"/>
              <a:defRPr sz="2200">
                <a:solidFill>
                  <a:schemeClr val="tx1"/>
                </a:solidFill>
                <a:latin typeface="+mn-lt"/>
              </a:defRPr>
            </a:lvl2pPr>
            <a:lvl3pPr marL="747713" indent="-228600">
              <a:buClr>
                <a:schemeClr val="tx1"/>
              </a:buClr>
              <a:buFont typeface="+mj-lt"/>
              <a:buAutoNum type="romanLcPeriod"/>
              <a:defRPr sz="2000">
                <a:solidFill>
                  <a:schemeClr val="tx1"/>
                </a:solidFill>
                <a:latin typeface="+mn-lt"/>
              </a:defRPr>
            </a:lvl3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-8311" y="673973"/>
            <a:ext cx="9135687" cy="482030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Number List 2: Traditional</a:t>
            </a:r>
          </a:p>
        </p:txBody>
      </p:sp>
    </p:spTree>
    <p:extLst>
      <p:ext uri="{BB962C8B-B14F-4D97-AF65-F5344CB8AC3E}">
        <p14:creationId xmlns:p14="http://schemas.microsoft.com/office/powerpoint/2010/main" val="2775451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6347714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160589"/>
            <a:ext cx="3088109" cy="38807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9204" y="2160590"/>
            <a:ext cx="3088110" cy="388077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27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7525803"/>
      </p:ext>
    </p:extLst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/>
          <p:cNvCxnSpPr/>
          <p:nvPr userDrawn="1"/>
        </p:nvCxnSpPr>
        <p:spPr>
          <a:xfrm flipV="1">
            <a:off x="4322814" y="1246349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270490" y="2483440"/>
            <a:ext cx="1790700" cy="372955"/>
          </a:xfrm>
        </p:spPr>
        <p:txBody>
          <a:bodyPr>
            <a:noAutofit/>
          </a:bodyPr>
          <a:lstStyle>
            <a:lvl1pPr marL="285750" indent="-285750" algn="l">
              <a:buFont typeface="Arial" panose="020B0604020202020204" pitchFamily="34" charset="0"/>
              <a:buNone/>
              <a:defRPr lang="en-US" sz="22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3677051" y="2483438"/>
            <a:ext cx="1790700" cy="372955"/>
          </a:xfrm>
        </p:spPr>
        <p:txBody>
          <a:bodyPr>
            <a:noAutofit/>
          </a:bodyPr>
          <a:lstStyle>
            <a:lvl1pPr marL="285750" indent="-285750" algn="l">
              <a:buFont typeface="Arial" panose="020B0604020202020204" pitchFamily="34" charset="0"/>
              <a:buNone/>
              <a:defRPr lang="en-US" sz="2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099138" y="2483442"/>
            <a:ext cx="1790700" cy="372955"/>
          </a:xfrm>
        </p:spPr>
        <p:txBody>
          <a:bodyPr>
            <a:noAutofit/>
          </a:bodyPr>
          <a:lstStyle>
            <a:lvl1pPr marL="285750" indent="-285750" algn="l">
              <a:buFont typeface="Arial" panose="020B0604020202020204" pitchFamily="34" charset="0"/>
              <a:buNone/>
              <a:defRPr lang="en-US" sz="2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1270490" y="2859816"/>
            <a:ext cx="1790700" cy="3198287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3676918" y="2859814"/>
            <a:ext cx="1790700" cy="3198289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6098698" y="2859818"/>
            <a:ext cx="1790700" cy="3198285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en-US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en-US" dirty="0"/>
              <a:t>Text…</a:t>
            </a:r>
          </a:p>
        </p:txBody>
      </p:sp>
      <p:sp>
        <p:nvSpPr>
          <p:cNvPr id="14" name="Oval 13"/>
          <p:cNvSpPr/>
          <p:nvPr/>
        </p:nvSpPr>
        <p:spPr>
          <a:xfrm>
            <a:off x="1785866" y="1567694"/>
            <a:ext cx="739897" cy="740152"/>
          </a:xfrm>
          <a:prstGeom prst="ellipse">
            <a:avLst/>
          </a:prstGeom>
          <a:solidFill>
            <a:srgbClr val="61A60E"/>
          </a:solidFill>
          <a:ln w="19050">
            <a:solidFill>
              <a:srgbClr val="61A60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Oval 16"/>
          <p:cNvSpPr/>
          <p:nvPr/>
        </p:nvSpPr>
        <p:spPr>
          <a:xfrm>
            <a:off x="4202051" y="1567694"/>
            <a:ext cx="739897" cy="740152"/>
          </a:xfrm>
          <a:prstGeom prst="ellipse">
            <a:avLst/>
          </a:prstGeom>
          <a:solidFill>
            <a:srgbClr val="61A60E"/>
          </a:solidFill>
          <a:ln w="19050">
            <a:solidFill>
              <a:srgbClr val="61A60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Oval 20"/>
          <p:cNvSpPr/>
          <p:nvPr/>
        </p:nvSpPr>
        <p:spPr>
          <a:xfrm>
            <a:off x="6615580" y="1577212"/>
            <a:ext cx="739897" cy="740152"/>
          </a:xfrm>
          <a:prstGeom prst="ellipse">
            <a:avLst/>
          </a:prstGeom>
          <a:solidFill>
            <a:srgbClr val="61A60E"/>
          </a:solidFill>
          <a:ln w="19050">
            <a:solidFill>
              <a:srgbClr val="61A60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-8311" y="670551"/>
            <a:ext cx="9135687" cy="485451"/>
          </a:xfrm>
        </p:spPr>
        <p:txBody>
          <a:bodyPr>
            <a:norm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Icon List (insert icons inside the circles)</a:t>
            </a:r>
          </a:p>
        </p:txBody>
      </p:sp>
    </p:spTree>
    <p:extLst>
      <p:ext uri="{BB962C8B-B14F-4D97-AF65-F5344CB8AC3E}">
        <p14:creationId xmlns:p14="http://schemas.microsoft.com/office/powerpoint/2010/main" val="12230330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shington State Map with Popul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588" y="6037359"/>
            <a:ext cx="1066504" cy="471857"/>
          </a:xfrm>
          <a:prstGeom prst="rect">
            <a:avLst/>
          </a:prstGeom>
        </p:spPr>
      </p:pic>
      <p:sp>
        <p:nvSpPr>
          <p:cNvPr id="129" name="Title 2"/>
          <p:cNvSpPr>
            <a:spLocks noGrp="1"/>
          </p:cNvSpPr>
          <p:nvPr>
            <p:ph type="title" hasCustomPrompt="1"/>
          </p:nvPr>
        </p:nvSpPr>
        <p:spPr>
          <a:xfrm>
            <a:off x="0" y="618424"/>
            <a:ext cx="9144000" cy="544750"/>
          </a:xfrm>
        </p:spPr>
        <p:txBody>
          <a:bodyPr>
            <a:normAutofit/>
          </a:bodyPr>
          <a:lstStyle>
            <a:lvl1pPr algn="ctr">
              <a:defRPr sz="2700" baseline="0"/>
            </a:lvl1pPr>
          </a:lstStyle>
          <a:p>
            <a:r>
              <a:rPr lang="en-US" dirty="0"/>
              <a:t>Washington State Population Served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599909" y="1246747"/>
            <a:ext cx="7634998" cy="5254671"/>
            <a:chOff x="599909" y="1246747"/>
            <a:chExt cx="7634998" cy="5254671"/>
          </a:xfrm>
        </p:grpSpPr>
        <p:sp>
          <p:nvSpPr>
            <p:cNvPr id="8" name="Rectangle 7"/>
            <p:cNvSpPr/>
            <p:nvPr userDrawn="1"/>
          </p:nvSpPr>
          <p:spPr>
            <a:xfrm>
              <a:off x="2773214" y="5894225"/>
              <a:ext cx="214952" cy="204716"/>
            </a:xfrm>
            <a:prstGeom prst="rect">
              <a:avLst/>
            </a:prstGeom>
            <a:solidFill>
              <a:srgbClr val="99999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spcBef>
                  <a:spcPts val="200"/>
                </a:spcBef>
              </a:pPr>
              <a:endPara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5701518" y="5890326"/>
              <a:ext cx="214952" cy="204716"/>
            </a:xfrm>
            <a:prstGeom prst="rect">
              <a:avLst/>
            </a:prstGeom>
            <a:solidFill>
              <a:srgbClr val="F3D17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spcBef>
                  <a:spcPts val="200"/>
                </a:spcBef>
              </a:pPr>
              <a:endParaRPr lang="en-US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2774277" y="6272819"/>
              <a:ext cx="214952" cy="204716"/>
            </a:xfrm>
            <a:prstGeom prst="rect">
              <a:avLst/>
            </a:prstGeom>
            <a:solidFill>
              <a:srgbClr val="E8E8E8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5709719" y="6272819"/>
              <a:ext cx="214952" cy="204716"/>
            </a:xfrm>
            <a:prstGeom prst="rect">
              <a:avLst/>
            </a:prstGeom>
            <a:solidFill>
              <a:srgbClr val="349D9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599909" y="5183825"/>
              <a:ext cx="1473881" cy="553998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*</a:t>
              </a:r>
              <a:r>
                <a:rPr lang="en-US" sz="1000" b="1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Agency leader is both director and health officer (2)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1155570" y="1367868"/>
              <a:ext cx="6693635" cy="4194289"/>
              <a:chOff x="1777366" y="2155881"/>
              <a:chExt cx="4480731" cy="2843080"/>
            </a:xfrm>
            <a:effectLst/>
          </p:grpSpPr>
          <p:sp>
            <p:nvSpPr>
              <p:cNvPr id="63" name="Freeform 26"/>
              <p:cNvSpPr>
                <a:spLocks/>
              </p:cNvSpPr>
              <p:nvPr/>
            </p:nvSpPr>
            <p:spPr bwMode="auto">
              <a:xfrm>
                <a:off x="3095735" y="2769165"/>
                <a:ext cx="842722" cy="427767"/>
              </a:xfrm>
              <a:custGeom>
                <a:avLst/>
                <a:gdLst/>
                <a:ahLst/>
                <a:cxnLst>
                  <a:cxn ang="0">
                    <a:pos x="3" y="449"/>
                  </a:cxn>
                  <a:cxn ang="0">
                    <a:pos x="6" y="435"/>
                  </a:cxn>
                  <a:cxn ang="0">
                    <a:pos x="30" y="409"/>
                  </a:cxn>
                  <a:cxn ang="0">
                    <a:pos x="41" y="395"/>
                  </a:cxn>
                  <a:cxn ang="0">
                    <a:pos x="45" y="375"/>
                  </a:cxn>
                  <a:cxn ang="0">
                    <a:pos x="46" y="355"/>
                  </a:cxn>
                  <a:cxn ang="0">
                    <a:pos x="55" y="337"/>
                  </a:cxn>
                  <a:cxn ang="0">
                    <a:pos x="60" y="315"/>
                  </a:cxn>
                  <a:cxn ang="0">
                    <a:pos x="78" y="306"/>
                  </a:cxn>
                  <a:cxn ang="0">
                    <a:pos x="108" y="295"/>
                  </a:cxn>
                  <a:cxn ang="0">
                    <a:pos x="112" y="266"/>
                  </a:cxn>
                  <a:cxn ang="0">
                    <a:pos x="108" y="237"/>
                  </a:cxn>
                  <a:cxn ang="0">
                    <a:pos x="77" y="220"/>
                  </a:cxn>
                  <a:cxn ang="0">
                    <a:pos x="55" y="197"/>
                  </a:cxn>
                  <a:cxn ang="0">
                    <a:pos x="41" y="179"/>
                  </a:cxn>
                  <a:cxn ang="0">
                    <a:pos x="28" y="157"/>
                  </a:cxn>
                  <a:cxn ang="0">
                    <a:pos x="28" y="140"/>
                  </a:cxn>
                  <a:cxn ang="0">
                    <a:pos x="23" y="117"/>
                  </a:cxn>
                  <a:cxn ang="0">
                    <a:pos x="25" y="97"/>
                  </a:cxn>
                  <a:cxn ang="0">
                    <a:pos x="13" y="70"/>
                  </a:cxn>
                  <a:cxn ang="0">
                    <a:pos x="12" y="53"/>
                  </a:cxn>
                  <a:cxn ang="0">
                    <a:pos x="12" y="25"/>
                  </a:cxn>
                  <a:cxn ang="0">
                    <a:pos x="15" y="15"/>
                  </a:cxn>
                  <a:cxn ang="0">
                    <a:pos x="165" y="1"/>
                  </a:cxn>
                  <a:cxn ang="0">
                    <a:pos x="273" y="1"/>
                  </a:cxn>
                  <a:cxn ang="0">
                    <a:pos x="513" y="5"/>
                  </a:cxn>
                  <a:cxn ang="0">
                    <a:pos x="912" y="15"/>
                  </a:cxn>
                  <a:cxn ang="0">
                    <a:pos x="912" y="32"/>
                  </a:cxn>
                  <a:cxn ang="0">
                    <a:pos x="927" y="57"/>
                  </a:cxn>
                  <a:cxn ang="0">
                    <a:pos x="940" y="70"/>
                  </a:cxn>
                  <a:cxn ang="0">
                    <a:pos x="945" y="85"/>
                  </a:cxn>
                  <a:cxn ang="0">
                    <a:pos x="960" y="97"/>
                  </a:cxn>
                  <a:cxn ang="0">
                    <a:pos x="972" y="117"/>
                  </a:cxn>
                  <a:cxn ang="0">
                    <a:pos x="970" y="132"/>
                  </a:cxn>
                  <a:cxn ang="0">
                    <a:pos x="945" y="137"/>
                  </a:cxn>
                  <a:cxn ang="0">
                    <a:pos x="938" y="155"/>
                  </a:cxn>
                  <a:cxn ang="0">
                    <a:pos x="947" y="172"/>
                  </a:cxn>
                  <a:cxn ang="0">
                    <a:pos x="932" y="184"/>
                  </a:cxn>
                  <a:cxn ang="0">
                    <a:pos x="918" y="197"/>
                  </a:cxn>
                  <a:cxn ang="0">
                    <a:pos x="900" y="204"/>
                  </a:cxn>
                  <a:cxn ang="0">
                    <a:pos x="883" y="212"/>
                  </a:cxn>
                  <a:cxn ang="0">
                    <a:pos x="860" y="217"/>
                  </a:cxn>
                  <a:cxn ang="0">
                    <a:pos x="842" y="224"/>
                  </a:cxn>
                  <a:cxn ang="0">
                    <a:pos x="822" y="235"/>
                  </a:cxn>
                  <a:cxn ang="0">
                    <a:pos x="820" y="252"/>
                  </a:cxn>
                  <a:cxn ang="0">
                    <a:pos x="838" y="266"/>
                  </a:cxn>
                  <a:cxn ang="0">
                    <a:pos x="829" y="284"/>
                  </a:cxn>
                  <a:cxn ang="0">
                    <a:pos x="817" y="302"/>
                  </a:cxn>
                  <a:cxn ang="0">
                    <a:pos x="807" y="322"/>
                  </a:cxn>
                  <a:cxn ang="0">
                    <a:pos x="802" y="340"/>
                  </a:cxn>
                  <a:cxn ang="0">
                    <a:pos x="802" y="357"/>
                  </a:cxn>
                  <a:cxn ang="0">
                    <a:pos x="800" y="375"/>
                  </a:cxn>
                  <a:cxn ang="0">
                    <a:pos x="812" y="389"/>
                  </a:cxn>
                  <a:cxn ang="0">
                    <a:pos x="815" y="407"/>
                  </a:cxn>
                  <a:cxn ang="0">
                    <a:pos x="830" y="419"/>
                  </a:cxn>
                  <a:cxn ang="0">
                    <a:pos x="843" y="426"/>
                  </a:cxn>
                  <a:cxn ang="0">
                    <a:pos x="862" y="424"/>
                  </a:cxn>
                  <a:cxn ang="0">
                    <a:pos x="862" y="439"/>
                  </a:cxn>
                  <a:cxn ang="0">
                    <a:pos x="850" y="455"/>
                  </a:cxn>
                  <a:cxn ang="0">
                    <a:pos x="837" y="474"/>
                  </a:cxn>
                  <a:cxn ang="0">
                    <a:pos x="282" y="471"/>
                  </a:cxn>
                  <a:cxn ang="0">
                    <a:pos x="133" y="467"/>
                  </a:cxn>
                  <a:cxn ang="0">
                    <a:pos x="1" y="459"/>
                  </a:cxn>
                </a:cxnLst>
                <a:rect l="0" t="0" r="r" b="b"/>
                <a:pathLst>
                  <a:path w="978" h="475">
                    <a:moveTo>
                      <a:pt x="1" y="459"/>
                    </a:moveTo>
                    <a:lnTo>
                      <a:pt x="3" y="449"/>
                    </a:lnTo>
                    <a:lnTo>
                      <a:pt x="0" y="442"/>
                    </a:lnTo>
                    <a:lnTo>
                      <a:pt x="6" y="435"/>
                    </a:lnTo>
                    <a:lnTo>
                      <a:pt x="13" y="426"/>
                    </a:lnTo>
                    <a:lnTo>
                      <a:pt x="30" y="409"/>
                    </a:lnTo>
                    <a:lnTo>
                      <a:pt x="35" y="404"/>
                    </a:lnTo>
                    <a:lnTo>
                      <a:pt x="41" y="395"/>
                    </a:lnTo>
                    <a:lnTo>
                      <a:pt x="45" y="384"/>
                    </a:lnTo>
                    <a:lnTo>
                      <a:pt x="45" y="375"/>
                    </a:lnTo>
                    <a:lnTo>
                      <a:pt x="45" y="366"/>
                    </a:lnTo>
                    <a:lnTo>
                      <a:pt x="46" y="355"/>
                    </a:lnTo>
                    <a:lnTo>
                      <a:pt x="52" y="342"/>
                    </a:lnTo>
                    <a:lnTo>
                      <a:pt x="55" y="337"/>
                    </a:lnTo>
                    <a:lnTo>
                      <a:pt x="57" y="324"/>
                    </a:lnTo>
                    <a:lnTo>
                      <a:pt x="60" y="315"/>
                    </a:lnTo>
                    <a:lnTo>
                      <a:pt x="73" y="312"/>
                    </a:lnTo>
                    <a:lnTo>
                      <a:pt x="78" y="306"/>
                    </a:lnTo>
                    <a:lnTo>
                      <a:pt x="97" y="306"/>
                    </a:lnTo>
                    <a:lnTo>
                      <a:pt x="108" y="295"/>
                    </a:lnTo>
                    <a:lnTo>
                      <a:pt x="112" y="279"/>
                    </a:lnTo>
                    <a:lnTo>
                      <a:pt x="112" y="266"/>
                    </a:lnTo>
                    <a:lnTo>
                      <a:pt x="115" y="252"/>
                    </a:lnTo>
                    <a:lnTo>
                      <a:pt x="108" y="237"/>
                    </a:lnTo>
                    <a:lnTo>
                      <a:pt x="88" y="225"/>
                    </a:lnTo>
                    <a:lnTo>
                      <a:pt x="77" y="220"/>
                    </a:lnTo>
                    <a:lnTo>
                      <a:pt x="68" y="205"/>
                    </a:lnTo>
                    <a:lnTo>
                      <a:pt x="55" y="197"/>
                    </a:lnTo>
                    <a:lnTo>
                      <a:pt x="52" y="186"/>
                    </a:lnTo>
                    <a:lnTo>
                      <a:pt x="41" y="179"/>
                    </a:lnTo>
                    <a:lnTo>
                      <a:pt x="35" y="170"/>
                    </a:lnTo>
                    <a:lnTo>
                      <a:pt x="28" y="157"/>
                    </a:lnTo>
                    <a:lnTo>
                      <a:pt x="28" y="146"/>
                    </a:lnTo>
                    <a:lnTo>
                      <a:pt x="28" y="140"/>
                    </a:lnTo>
                    <a:lnTo>
                      <a:pt x="25" y="128"/>
                    </a:lnTo>
                    <a:lnTo>
                      <a:pt x="23" y="117"/>
                    </a:lnTo>
                    <a:lnTo>
                      <a:pt x="28" y="108"/>
                    </a:lnTo>
                    <a:lnTo>
                      <a:pt x="25" y="97"/>
                    </a:lnTo>
                    <a:lnTo>
                      <a:pt x="18" y="88"/>
                    </a:lnTo>
                    <a:lnTo>
                      <a:pt x="13" y="70"/>
                    </a:lnTo>
                    <a:lnTo>
                      <a:pt x="6" y="65"/>
                    </a:lnTo>
                    <a:lnTo>
                      <a:pt x="12" y="53"/>
                    </a:lnTo>
                    <a:lnTo>
                      <a:pt x="8" y="32"/>
                    </a:lnTo>
                    <a:lnTo>
                      <a:pt x="12" y="25"/>
                    </a:lnTo>
                    <a:lnTo>
                      <a:pt x="5" y="15"/>
                    </a:lnTo>
                    <a:lnTo>
                      <a:pt x="15" y="15"/>
                    </a:lnTo>
                    <a:lnTo>
                      <a:pt x="18" y="0"/>
                    </a:lnTo>
                    <a:lnTo>
                      <a:pt x="165" y="1"/>
                    </a:lnTo>
                    <a:lnTo>
                      <a:pt x="265" y="1"/>
                    </a:lnTo>
                    <a:lnTo>
                      <a:pt x="273" y="1"/>
                    </a:lnTo>
                    <a:lnTo>
                      <a:pt x="378" y="5"/>
                    </a:lnTo>
                    <a:lnTo>
                      <a:pt x="513" y="5"/>
                    </a:lnTo>
                    <a:lnTo>
                      <a:pt x="912" y="8"/>
                    </a:lnTo>
                    <a:lnTo>
                      <a:pt x="912" y="15"/>
                    </a:lnTo>
                    <a:lnTo>
                      <a:pt x="907" y="21"/>
                    </a:lnTo>
                    <a:lnTo>
                      <a:pt x="912" y="32"/>
                    </a:lnTo>
                    <a:lnTo>
                      <a:pt x="923" y="46"/>
                    </a:lnTo>
                    <a:lnTo>
                      <a:pt x="927" y="57"/>
                    </a:lnTo>
                    <a:lnTo>
                      <a:pt x="932" y="65"/>
                    </a:lnTo>
                    <a:lnTo>
                      <a:pt x="940" y="70"/>
                    </a:lnTo>
                    <a:lnTo>
                      <a:pt x="938" y="83"/>
                    </a:lnTo>
                    <a:lnTo>
                      <a:pt x="945" y="85"/>
                    </a:lnTo>
                    <a:lnTo>
                      <a:pt x="949" y="93"/>
                    </a:lnTo>
                    <a:lnTo>
                      <a:pt x="960" y="97"/>
                    </a:lnTo>
                    <a:lnTo>
                      <a:pt x="967" y="102"/>
                    </a:lnTo>
                    <a:lnTo>
                      <a:pt x="972" y="117"/>
                    </a:lnTo>
                    <a:lnTo>
                      <a:pt x="977" y="126"/>
                    </a:lnTo>
                    <a:lnTo>
                      <a:pt x="970" y="132"/>
                    </a:lnTo>
                    <a:lnTo>
                      <a:pt x="960" y="133"/>
                    </a:lnTo>
                    <a:lnTo>
                      <a:pt x="945" y="137"/>
                    </a:lnTo>
                    <a:lnTo>
                      <a:pt x="940" y="146"/>
                    </a:lnTo>
                    <a:lnTo>
                      <a:pt x="938" y="155"/>
                    </a:lnTo>
                    <a:lnTo>
                      <a:pt x="943" y="165"/>
                    </a:lnTo>
                    <a:lnTo>
                      <a:pt x="947" y="172"/>
                    </a:lnTo>
                    <a:lnTo>
                      <a:pt x="940" y="179"/>
                    </a:lnTo>
                    <a:lnTo>
                      <a:pt x="932" y="184"/>
                    </a:lnTo>
                    <a:lnTo>
                      <a:pt x="923" y="192"/>
                    </a:lnTo>
                    <a:lnTo>
                      <a:pt x="918" y="197"/>
                    </a:lnTo>
                    <a:lnTo>
                      <a:pt x="909" y="200"/>
                    </a:lnTo>
                    <a:lnTo>
                      <a:pt x="900" y="204"/>
                    </a:lnTo>
                    <a:lnTo>
                      <a:pt x="892" y="205"/>
                    </a:lnTo>
                    <a:lnTo>
                      <a:pt x="883" y="212"/>
                    </a:lnTo>
                    <a:lnTo>
                      <a:pt x="869" y="215"/>
                    </a:lnTo>
                    <a:lnTo>
                      <a:pt x="860" y="217"/>
                    </a:lnTo>
                    <a:lnTo>
                      <a:pt x="850" y="217"/>
                    </a:lnTo>
                    <a:lnTo>
                      <a:pt x="842" y="224"/>
                    </a:lnTo>
                    <a:lnTo>
                      <a:pt x="829" y="233"/>
                    </a:lnTo>
                    <a:lnTo>
                      <a:pt x="822" y="235"/>
                    </a:lnTo>
                    <a:lnTo>
                      <a:pt x="815" y="237"/>
                    </a:lnTo>
                    <a:lnTo>
                      <a:pt x="820" y="252"/>
                    </a:lnTo>
                    <a:lnTo>
                      <a:pt x="830" y="260"/>
                    </a:lnTo>
                    <a:lnTo>
                      <a:pt x="838" y="266"/>
                    </a:lnTo>
                    <a:lnTo>
                      <a:pt x="835" y="279"/>
                    </a:lnTo>
                    <a:lnTo>
                      <a:pt x="829" y="284"/>
                    </a:lnTo>
                    <a:lnTo>
                      <a:pt x="820" y="292"/>
                    </a:lnTo>
                    <a:lnTo>
                      <a:pt x="817" y="302"/>
                    </a:lnTo>
                    <a:lnTo>
                      <a:pt x="807" y="312"/>
                    </a:lnTo>
                    <a:lnTo>
                      <a:pt x="807" y="322"/>
                    </a:lnTo>
                    <a:lnTo>
                      <a:pt x="803" y="332"/>
                    </a:lnTo>
                    <a:lnTo>
                      <a:pt x="802" y="340"/>
                    </a:lnTo>
                    <a:lnTo>
                      <a:pt x="797" y="347"/>
                    </a:lnTo>
                    <a:lnTo>
                      <a:pt x="802" y="357"/>
                    </a:lnTo>
                    <a:lnTo>
                      <a:pt x="797" y="364"/>
                    </a:lnTo>
                    <a:lnTo>
                      <a:pt x="800" y="375"/>
                    </a:lnTo>
                    <a:lnTo>
                      <a:pt x="807" y="384"/>
                    </a:lnTo>
                    <a:lnTo>
                      <a:pt x="812" y="389"/>
                    </a:lnTo>
                    <a:lnTo>
                      <a:pt x="817" y="399"/>
                    </a:lnTo>
                    <a:lnTo>
                      <a:pt x="815" y="407"/>
                    </a:lnTo>
                    <a:lnTo>
                      <a:pt x="817" y="415"/>
                    </a:lnTo>
                    <a:lnTo>
                      <a:pt x="830" y="419"/>
                    </a:lnTo>
                    <a:lnTo>
                      <a:pt x="837" y="426"/>
                    </a:lnTo>
                    <a:lnTo>
                      <a:pt x="843" y="426"/>
                    </a:lnTo>
                    <a:lnTo>
                      <a:pt x="852" y="424"/>
                    </a:lnTo>
                    <a:lnTo>
                      <a:pt x="862" y="424"/>
                    </a:lnTo>
                    <a:lnTo>
                      <a:pt x="865" y="433"/>
                    </a:lnTo>
                    <a:lnTo>
                      <a:pt x="862" y="439"/>
                    </a:lnTo>
                    <a:lnTo>
                      <a:pt x="858" y="449"/>
                    </a:lnTo>
                    <a:lnTo>
                      <a:pt x="850" y="455"/>
                    </a:lnTo>
                    <a:lnTo>
                      <a:pt x="843" y="464"/>
                    </a:lnTo>
                    <a:lnTo>
                      <a:pt x="837" y="474"/>
                    </a:lnTo>
                    <a:lnTo>
                      <a:pt x="535" y="471"/>
                    </a:lnTo>
                    <a:lnTo>
                      <a:pt x="282" y="471"/>
                    </a:lnTo>
                    <a:lnTo>
                      <a:pt x="265" y="471"/>
                    </a:lnTo>
                    <a:lnTo>
                      <a:pt x="133" y="467"/>
                    </a:lnTo>
                    <a:lnTo>
                      <a:pt x="92" y="467"/>
                    </a:lnTo>
                    <a:lnTo>
                      <a:pt x="1" y="459"/>
                    </a:lnTo>
                  </a:path>
                </a:pathLst>
              </a:custGeom>
              <a:solidFill>
                <a:srgbClr val="E8E8E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64" name="Freeform 5"/>
              <p:cNvSpPr>
                <a:spLocks/>
              </p:cNvSpPr>
              <p:nvPr/>
            </p:nvSpPr>
            <p:spPr bwMode="auto">
              <a:xfrm>
                <a:off x="4821678" y="3587777"/>
                <a:ext cx="809978" cy="446680"/>
              </a:xfrm>
              <a:custGeom>
                <a:avLst/>
                <a:gdLst/>
                <a:ahLst/>
                <a:cxnLst>
                  <a:cxn ang="0">
                    <a:pos x="854" y="436"/>
                  </a:cxn>
                  <a:cxn ang="0">
                    <a:pos x="845" y="441"/>
                  </a:cxn>
                  <a:cxn ang="0">
                    <a:pos x="837" y="448"/>
                  </a:cxn>
                  <a:cxn ang="0">
                    <a:pos x="815" y="454"/>
                  </a:cxn>
                  <a:cxn ang="0">
                    <a:pos x="809" y="461"/>
                  </a:cxn>
                  <a:cxn ang="0">
                    <a:pos x="797" y="465"/>
                  </a:cxn>
                  <a:cxn ang="0">
                    <a:pos x="789" y="461"/>
                  </a:cxn>
                  <a:cxn ang="0">
                    <a:pos x="782" y="470"/>
                  </a:cxn>
                  <a:cxn ang="0">
                    <a:pos x="778" y="473"/>
                  </a:cxn>
                  <a:cxn ang="0">
                    <a:pos x="482" y="483"/>
                  </a:cxn>
                  <a:cxn ang="0">
                    <a:pos x="315" y="485"/>
                  </a:cxn>
                  <a:cxn ang="0">
                    <a:pos x="3" y="495"/>
                  </a:cxn>
                  <a:cxn ang="0">
                    <a:pos x="0" y="334"/>
                  </a:cxn>
                  <a:cxn ang="0">
                    <a:pos x="80" y="334"/>
                  </a:cxn>
                  <a:cxn ang="0">
                    <a:pos x="257" y="332"/>
                  </a:cxn>
                  <a:cxn ang="0">
                    <a:pos x="252" y="175"/>
                  </a:cxn>
                  <a:cxn ang="0">
                    <a:pos x="249" y="90"/>
                  </a:cxn>
                  <a:cxn ang="0">
                    <a:pos x="249" y="15"/>
                  </a:cxn>
                  <a:cxn ang="0">
                    <a:pos x="925" y="0"/>
                  </a:cxn>
                  <a:cxn ang="0">
                    <a:pos x="932" y="167"/>
                  </a:cxn>
                  <a:cxn ang="0">
                    <a:pos x="939" y="308"/>
                  </a:cxn>
                  <a:cxn ang="0">
                    <a:pos x="932" y="352"/>
                  </a:cxn>
                  <a:cxn ang="0">
                    <a:pos x="924" y="358"/>
                  </a:cxn>
                  <a:cxn ang="0">
                    <a:pos x="917" y="366"/>
                  </a:cxn>
                  <a:cxn ang="0">
                    <a:pos x="911" y="376"/>
                  </a:cxn>
                  <a:cxn ang="0">
                    <a:pos x="917" y="381"/>
                  </a:cxn>
                  <a:cxn ang="0">
                    <a:pos x="914" y="390"/>
                  </a:cxn>
                  <a:cxn ang="0">
                    <a:pos x="909" y="399"/>
                  </a:cxn>
                  <a:cxn ang="0">
                    <a:pos x="902" y="405"/>
                  </a:cxn>
                  <a:cxn ang="0">
                    <a:pos x="904" y="413"/>
                  </a:cxn>
                  <a:cxn ang="0">
                    <a:pos x="907" y="425"/>
                  </a:cxn>
                  <a:cxn ang="0">
                    <a:pos x="898" y="425"/>
                  </a:cxn>
                  <a:cxn ang="0">
                    <a:pos x="887" y="430"/>
                  </a:cxn>
                  <a:cxn ang="0">
                    <a:pos x="887" y="441"/>
                  </a:cxn>
                  <a:cxn ang="0">
                    <a:pos x="871" y="441"/>
                  </a:cxn>
                  <a:cxn ang="0">
                    <a:pos x="854" y="436"/>
                  </a:cxn>
                </a:cxnLst>
                <a:rect l="0" t="0" r="r" b="b"/>
                <a:pathLst>
                  <a:path w="940" h="496">
                    <a:moveTo>
                      <a:pt x="854" y="436"/>
                    </a:moveTo>
                    <a:lnTo>
                      <a:pt x="845" y="441"/>
                    </a:lnTo>
                    <a:lnTo>
                      <a:pt x="837" y="448"/>
                    </a:lnTo>
                    <a:lnTo>
                      <a:pt x="815" y="454"/>
                    </a:lnTo>
                    <a:lnTo>
                      <a:pt x="809" y="461"/>
                    </a:lnTo>
                    <a:lnTo>
                      <a:pt x="797" y="465"/>
                    </a:lnTo>
                    <a:lnTo>
                      <a:pt x="789" y="461"/>
                    </a:lnTo>
                    <a:lnTo>
                      <a:pt x="782" y="470"/>
                    </a:lnTo>
                    <a:lnTo>
                      <a:pt x="778" y="473"/>
                    </a:lnTo>
                    <a:lnTo>
                      <a:pt x="482" y="483"/>
                    </a:lnTo>
                    <a:lnTo>
                      <a:pt x="315" y="485"/>
                    </a:lnTo>
                    <a:lnTo>
                      <a:pt x="3" y="495"/>
                    </a:lnTo>
                    <a:lnTo>
                      <a:pt x="0" y="334"/>
                    </a:lnTo>
                    <a:lnTo>
                      <a:pt x="80" y="334"/>
                    </a:lnTo>
                    <a:lnTo>
                      <a:pt x="257" y="332"/>
                    </a:lnTo>
                    <a:lnTo>
                      <a:pt x="252" y="175"/>
                    </a:lnTo>
                    <a:lnTo>
                      <a:pt x="249" y="90"/>
                    </a:lnTo>
                    <a:lnTo>
                      <a:pt x="249" y="15"/>
                    </a:lnTo>
                    <a:lnTo>
                      <a:pt x="925" y="0"/>
                    </a:lnTo>
                    <a:lnTo>
                      <a:pt x="932" y="167"/>
                    </a:lnTo>
                    <a:lnTo>
                      <a:pt x="939" y="308"/>
                    </a:lnTo>
                    <a:lnTo>
                      <a:pt x="932" y="352"/>
                    </a:lnTo>
                    <a:lnTo>
                      <a:pt x="924" y="358"/>
                    </a:lnTo>
                    <a:lnTo>
                      <a:pt x="917" y="366"/>
                    </a:lnTo>
                    <a:lnTo>
                      <a:pt x="911" y="376"/>
                    </a:lnTo>
                    <a:lnTo>
                      <a:pt x="917" y="381"/>
                    </a:lnTo>
                    <a:lnTo>
                      <a:pt x="914" y="390"/>
                    </a:lnTo>
                    <a:lnTo>
                      <a:pt x="909" y="399"/>
                    </a:lnTo>
                    <a:lnTo>
                      <a:pt x="902" y="405"/>
                    </a:lnTo>
                    <a:lnTo>
                      <a:pt x="904" y="413"/>
                    </a:lnTo>
                    <a:lnTo>
                      <a:pt x="907" y="425"/>
                    </a:lnTo>
                    <a:lnTo>
                      <a:pt x="898" y="425"/>
                    </a:lnTo>
                    <a:lnTo>
                      <a:pt x="887" y="430"/>
                    </a:lnTo>
                    <a:lnTo>
                      <a:pt x="887" y="441"/>
                    </a:lnTo>
                    <a:lnTo>
                      <a:pt x="871" y="441"/>
                    </a:lnTo>
                    <a:lnTo>
                      <a:pt x="854" y="436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65" name="Freeform 6"/>
              <p:cNvSpPr>
                <a:spLocks/>
              </p:cNvSpPr>
              <p:nvPr/>
            </p:nvSpPr>
            <p:spPr bwMode="auto">
              <a:xfrm>
                <a:off x="5927212" y="4217271"/>
                <a:ext cx="330885" cy="384541"/>
              </a:xfrm>
              <a:custGeom>
                <a:avLst/>
                <a:gdLst/>
                <a:ahLst/>
                <a:cxnLst>
                  <a:cxn ang="0">
                    <a:pos x="150" y="0"/>
                  </a:cxn>
                  <a:cxn ang="0">
                    <a:pos x="165" y="12"/>
                  </a:cxn>
                  <a:cxn ang="0">
                    <a:pos x="165" y="33"/>
                  </a:cxn>
                  <a:cxn ang="0">
                    <a:pos x="184" y="37"/>
                  </a:cxn>
                  <a:cxn ang="0">
                    <a:pos x="212" y="28"/>
                  </a:cxn>
                  <a:cxn ang="0">
                    <a:pos x="231" y="33"/>
                  </a:cxn>
                  <a:cxn ang="0">
                    <a:pos x="264" y="28"/>
                  </a:cxn>
                  <a:cxn ang="0">
                    <a:pos x="279" y="28"/>
                  </a:cxn>
                  <a:cxn ang="0">
                    <a:pos x="281" y="50"/>
                  </a:cxn>
                  <a:cxn ang="0">
                    <a:pos x="279" y="70"/>
                  </a:cxn>
                  <a:cxn ang="0">
                    <a:pos x="269" y="86"/>
                  </a:cxn>
                  <a:cxn ang="0">
                    <a:pos x="279" y="101"/>
                  </a:cxn>
                  <a:cxn ang="0">
                    <a:pos x="296" y="106"/>
                  </a:cxn>
                  <a:cxn ang="0">
                    <a:pos x="300" y="126"/>
                  </a:cxn>
                  <a:cxn ang="0">
                    <a:pos x="316" y="139"/>
                  </a:cxn>
                  <a:cxn ang="0">
                    <a:pos x="320" y="156"/>
                  </a:cxn>
                  <a:cxn ang="0">
                    <a:pos x="336" y="170"/>
                  </a:cxn>
                  <a:cxn ang="0">
                    <a:pos x="346" y="192"/>
                  </a:cxn>
                  <a:cxn ang="0">
                    <a:pos x="346" y="213"/>
                  </a:cxn>
                  <a:cxn ang="0">
                    <a:pos x="355" y="238"/>
                  </a:cxn>
                  <a:cxn ang="0">
                    <a:pos x="364" y="250"/>
                  </a:cxn>
                  <a:cxn ang="0">
                    <a:pos x="369" y="266"/>
                  </a:cxn>
                  <a:cxn ang="0">
                    <a:pos x="366" y="283"/>
                  </a:cxn>
                  <a:cxn ang="0">
                    <a:pos x="356" y="308"/>
                  </a:cxn>
                  <a:cxn ang="0">
                    <a:pos x="341" y="321"/>
                  </a:cxn>
                  <a:cxn ang="0">
                    <a:pos x="341" y="339"/>
                  </a:cxn>
                  <a:cxn ang="0">
                    <a:pos x="361" y="352"/>
                  </a:cxn>
                  <a:cxn ang="0">
                    <a:pos x="369" y="371"/>
                  </a:cxn>
                  <a:cxn ang="0">
                    <a:pos x="378" y="391"/>
                  </a:cxn>
                  <a:cxn ang="0">
                    <a:pos x="256" y="418"/>
                  </a:cxn>
                  <a:cxn ang="0">
                    <a:pos x="0" y="312"/>
                  </a:cxn>
                  <a:cxn ang="0">
                    <a:pos x="30" y="153"/>
                  </a:cxn>
                  <a:cxn ang="0">
                    <a:pos x="41" y="78"/>
                  </a:cxn>
                  <a:cxn ang="0">
                    <a:pos x="67" y="63"/>
                  </a:cxn>
                  <a:cxn ang="0">
                    <a:pos x="152" y="46"/>
                  </a:cxn>
                </a:cxnLst>
                <a:rect l="0" t="0" r="r" b="b"/>
                <a:pathLst>
                  <a:path w="384" h="427">
                    <a:moveTo>
                      <a:pt x="152" y="46"/>
                    </a:moveTo>
                    <a:lnTo>
                      <a:pt x="150" y="0"/>
                    </a:lnTo>
                    <a:lnTo>
                      <a:pt x="159" y="1"/>
                    </a:lnTo>
                    <a:lnTo>
                      <a:pt x="165" y="12"/>
                    </a:lnTo>
                    <a:lnTo>
                      <a:pt x="164" y="25"/>
                    </a:lnTo>
                    <a:lnTo>
                      <a:pt x="165" y="33"/>
                    </a:lnTo>
                    <a:lnTo>
                      <a:pt x="174" y="37"/>
                    </a:lnTo>
                    <a:lnTo>
                      <a:pt x="184" y="37"/>
                    </a:lnTo>
                    <a:lnTo>
                      <a:pt x="202" y="28"/>
                    </a:lnTo>
                    <a:lnTo>
                      <a:pt x="212" y="28"/>
                    </a:lnTo>
                    <a:lnTo>
                      <a:pt x="219" y="32"/>
                    </a:lnTo>
                    <a:lnTo>
                      <a:pt x="231" y="33"/>
                    </a:lnTo>
                    <a:lnTo>
                      <a:pt x="239" y="33"/>
                    </a:lnTo>
                    <a:lnTo>
                      <a:pt x="264" y="28"/>
                    </a:lnTo>
                    <a:lnTo>
                      <a:pt x="269" y="25"/>
                    </a:lnTo>
                    <a:lnTo>
                      <a:pt x="279" y="28"/>
                    </a:lnTo>
                    <a:lnTo>
                      <a:pt x="284" y="37"/>
                    </a:lnTo>
                    <a:lnTo>
                      <a:pt x="281" y="50"/>
                    </a:lnTo>
                    <a:lnTo>
                      <a:pt x="279" y="57"/>
                    </a:lnTo>
                    <a:lnTo>
                      <a:pt x="279" y="70"/>
                    </a:lnTo>
                    <a:lnTo>
                      <a:pt x="271" y="78"/>
                    </a:lnTo>
                    <a:lnTo>
                      <a:pt x="269" y="86"/>
                    </a:lnTo>
                    <a:lnTo>
                      <a:pt x="269" y="98"/>
                    </a:lnTo>
                    <a:lnTo>
                      <a:pt x="279" y="101"/>
                    </a:lnTo>
                    <a:lnTo>
                      <a:pt x="287" y="105"/>
                    </a:lnTo>
                    <a:lnTo>
                      <a:pt x="296" y="106"/>
                    </a:lnTo>
                    <a:lnTo>
                      <a:pt x="298" y="119"/>
                    </a:lnTo>
                    <a:lnTo>
                      <a:pt x="300" y="126"/>
                    </a:lnTo>
                    <a:lnTo>
                      <a:pt x="309" y="132"/>
                    </a:lnTo>
                    <a:lnTo>
                      <a:pt x="316" y="139"/>
                    </a:lnTo>
                    <a:lnTo>
                      <a:pt x="324" y="143"/>
                    </a:lnTo>
                    <a:lnTo>
                      <a:pt x="320" y="156"/>
                    </a:lnTo>
                    <a:lnTo>
                      <a:pt x="326" y="165"/>
                    </a:lnTo>
                    <a:lnTo>
                      <a:pt x="336" y="170"/>
                    </a:lnTo>
                    <a:lnTo>
                      <a:pt x="341" y="179"/>
                    </a:lnTo>
                    <a:lnTo>
                      <a:pt x="346" y="192"/>
                    </a:lnTo>
                    <a:lnTo>
                      <a:pt x="349" y="203"/>
                    </a:lnTo>
                    <a:lnTo>
                      <a:pt x="346" y="213"/>
                    </a:lnTo>
                    <a:lnTo>
                      <a:pt x="341" y="223"/>
                    </a:lnTo>
                    <a:lnTo>
                      <a:pt x="355" y="238"/>
                    </a:lnTo>
                    <a:lnTo>
                      <a:pt x="360" y="243"/>
                    </a:lnTo>
                    <a:lnTo>
                      <a:pt x="364" y="250"/>
                    </a:lnTo>
                    <a:lnTo>
                      <a:pt x="371" y="256"/>
                    </a:lnTo>
                    <a:lnTo>
                      <a:pt x="369" y="266"/>
                    </a:lnTo>
                    <a:lnTo>
                      <a:pt x="364" y="276"/>
                    </a:lnTo>
                    <a:lnTo>
                      <a:pt x="366" y="283"/>
                    </a:lnTo>
                    <a:lnTo>
                      <a:pt x="360" y="292"/>
                    </a:lnTo>
                    <a:lnTo>
                      <a:pt x="356" y="308"/>
                    </a:lnTo>
                    <a:lnTo>
                      <a:pt x="355" y="316"/>
                    </a:lnTo>
                    <a:lnTo>
                      <a:pt x="341" y="321"/>
                    </a:lnTo>
                    <a:lnTo>
                      <a:pt x="336" y="331"/>
                    </a:lnTo>
                    <a:lnTo>
                      <a:pt x="341" y="339"/>
                    </a:lnTo>
                    <a:lnTo>
                      <a:pt x="355" y="343"/>
                    </a:lnTo>
                    <a:lnTo>
                      <a:pt x="361" y="352"/>
                    </a:lnTo>
                    <a:lnTo>
                      <a:pt x="364" y="361"/>
                    </a:lnTo>
                    <a:lnTo>
                      <a:pt x="369" y="371"/>
                    </a:lnTo>
                    <a:lnTo>
                      <a:pt x="375" y="379"/>
                    </a:lnTo>
                    <a:lnTo>
                      <a:pt x="378" y="391"/>
                    </a:lnTo>
                    <a:lnTo>
                      <a:pt x="383" y="407"/>
                    </a:lnTo>
                    <a:lnTo>
                      <a:pt x="256" y="418"/>
                    </a:lnTo>
                    <a:lnTo>
                      <a:pt x="3" y="426"/>
                    </a:lnTo>
                    <a:lnTo>
                      <a:pt x="0" y="312"/>
                    </a:lnTo>
                    <a:lnTo>
                      <a:pt x="39" y="311"/>
                    </a:lnTo>
                    <a:lnTo>
                      <a:pt x="30" y="153"/>
                    </a:lnTo>
                    <a:lnTo>
                      <a:pt x="28" y="78"/>
                    </a:lnTo>
                    <a:lnTo>
                      <a:pt x="41" y="78"/>
                    </a:lnTo>
                    <a:lnTo>
                      <a:pt x="41" y="63"/>
                    </a:lnTo>
                    <a:lnTo>
                      <a:pt x="67" y="63"/>
                    </a:lnTo>
                    <a:lnTo>
                      <a:pt x="68" y="50"/>
                    </a:lnTo>
                    <a:lnTo>
                      <a:pt x="152" y="46"/>
                    </a:lnTo>
                  </a:path>
                </a:pathLst>
              </a:custGeom>
              <a:solidFill>
                <a:srgbClr val="E8E8E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66" name="Freeform 7"/>
              <p:cNvSpPr>
                <a:spLocks/>
              </p:cNvSpPr>
              <p:nvPr/>
            </p:nvSpPr>
            <p:spPr bwMode="auto">
              <a:xfrm>
                <a:off x="4527845" y="4040761"/>
                <a:ext cx="553198" cy="727656"/>
              </a:xfrm>
              <a:custGeom>
                <a:avLst/>
                <a:gdLst/>
                <a:ahLst/>
                <a:cxnLst>
                  <a:cxn ang="0">
                    <a:pos x="57" y="797"/>
                  </a:cxn>
                  <a:cxn ang="0">
                    <a:pos x="13" y="624"/>
                  </a:cxn>
                  <a:cxn ang="0">
                    <a:pos x="8" y="475"/>
                  </a:cxn>
                  <a:cxn ang="0">
                    <a:pos x="0" y="93"/>
                  </a:cxn>
                  <a:cxn ang="0">
                    <a:pos x="33" y="97"/>
                  </a:cxn>
                  <a:cxn ang="0">
                    <a:pos x="55" y="90"/>
                  </a:cxn>
                  <a:cxn ang="0">
                    <a:pos x="83" y="88"/>
                  </a:cxn>
                  <a:cxn ang="0">
                    <a:pos x="126" y="75"/>
                  </a:cxn>
                  <a:cxn ang="0">
                    <a:pos x="164" y="77"/>
                  </a:cxn>
                  <a:cxn ang="0">
                    <a:pos x="184" y="68"/>
                  </a:cxn>
                  <a:cxn ang="0">
                    <a:pos x="226" y="17"/>
                  </a:cxn>
                  <a:cxn ang="0">
                    <a:pos x="240" y="0"/>
                  </a:cxn>
                  <a:cxn ang="0">
                    <a:pos x="259" y="12"/>
                  </a:cxn>
                  <a:cxn ang="0">
                    <a:pos x="277" y="32"/>
                  </a:cxn>
                  <a:cxn ang="0">
                    <a:pos x="282" y="45"/>
                  </a:cxn>
                  <a:cxn ang="0">
                    <a:pos x="293" y="61"/>
                  </a:cxn>
                  <a:cxn ang="0">
                    <a:pos x="309" y="70"/>
                  </a:cxn>
                  <a:cxn ang="0">
                    <a:pos x="315" y="99"/>
                  </a:cxn>
                  <a:cxn ang="0">
                    <a:pos x="342" y="133"/>
                  </a:cxn>
                  <a:cxn ang="0">
                    <a:pos x="366" y="146"/>
                  </a:cxn>
                  <a:cxn ang="0">
                    <a:pos x="406" y="183"/>
                  </a:cxn>
                  <a:cxn ang="0">
                    <a:pos x="412" y="208"/>
                  </a:cxn>
                  <a:cxn ang="0">
                    <a:pos x="412" y="228"/>
                  </a:cxn>
                  <a:cxn ang="0">
                    <a:pos x="412" y="255"/>
                  </a:cxn>
                  <a:cxn ang="0">
                    <a:pos x="411" y="286"/>
                  </a:cxn>
                  <a:cxn ang="0">
                    <a:pos x="412" y="310"/>
                  </a:cxn>
                  <a:cxn ang="0">
                    <a:pos x="412" y="337"/>
                  </a:cxn>
                  <a:cxn ang="0">
                    <a:pos x="422" y="362"/>
                  </a:cxn>
                  <a:cxn ang="0">
                    <a:pos x="412" y="392"/>
                  </a:cxn>
                  <a:cxn ang="0">
                    <a:pos x="419" y="412"/>
                  </a:cxn>
                  <a:cxn ang="0">
                    <a:pos x="453" y="437"/>
                  </a:cxn>
                  <a:cxn ang="0">
                    <a:pos x="479" y="446"/>
                  </a:cxn>
                  <a:cxn ang="0">
                    <a:pos x="509" y="448"/>
                  </a:cxn>
                  <a:cxn ang="0">
                    <a:pos x="582" y="490"/>
                  </a:cxn>
                  <a:cxn ang="0">
                    <a:pos x="614" y="528"/>
                  </a:cxn>
                  <a:cxn ang="0">
                    <a:pos x="622" y="548"/>
                  </a:cxn>
                  <a:cxn ang="0">
                    <a:pos x="634" y="592"/>
                  </a:cxn>
                  <a:cxn ang="0">
                    <a:pos x="641" y="620"/>
                  </a:cxn>
                  <a:cxn ang="0">
                    <a:pos x="627" y="630"/>
                  </a:cxn>
                  <a:cxn ang="0">
                    <a:pos x="594" y="670"/>
                  </a:cxn>
                  <a:cxn ang="0">
                    <a:pos x="514" y="713"/>
                  </a:cxn>
                  <a:cxn ang="0">
                    <a:pos x="486" y="719"/>
                  </a:cxn>
                  <a:cxn ang="0">
                    <a:pos x="427" y="708"/>
                  </a:cxn>
                  <a:cxn ang="0">
                    <a:pos x="355" y="724"/>
                  </a:cxn>
                  <a:cxn ang="0">
                    <a:pos x="295" y="730"/>
                  </a:cxn>
                  <a:cxn ang="0">
                    <a:pos x="247" y="739"/>
                  </a:cxn>
                  <a:cxn ang="0">
                    <a:pos x="193" y="730"/>
                  </a:cxn>
                  <a:cxn ang="0">
                    <a:pos x="148" y="788"/>
                  </a:cxn>
                </a:cxnLst>
                <a:rect l="0" t="0" r="r" b="b"/>
                <a:pathLst>
                  <a:path w="642" h="808">
                    <a:moveTo>
                      <a:pt x="79" y="797"/>
                    </a:moveTo>
                    <a:lnTo>
                      <a:pt x="57" y="797"/>
                    </a:lnTo>
                    <a:lnTo>
                      <a:pt x="13" y="807"/>
                    </a:lnTo>
                    <a:lnTo>
                      <a:pt x="13" y="624"/>
                    </a:lnTo>
                    <a:lnTo>
                      <a:pt x="10" y="546"/>
                    </a:lnTo>
                    <a:lnTo>
                      <a:pt x="8" y="475"/>
                    </a:lnTo>
                    <a:lnTo>
                      <a:pt x="1" y="195"/>
                    </a:lnTo>
                    <a:lnTo>
                      <a:pt x="0" y="93"/>
                    </a:lnTo>
                    <a:lnTo>
                      <a:pt x="13" y="97"/>
                    </a:lnTo>
                    <a:lnTo>
                      <a:pt x="33" y="97"/>
                    </a:lnTo>
                    <a:lnTo>
                      <a:pt x="45" y="93"/>
                    </a:lnTo>
                    <a:lnTo>
                      <a:pt x="55" y="90"/>
                    </a:lnTo>
                    <a:lnTo>
                      <a:pt x="70" y="88"/>
                    </a:lnTo>
                    <a:lnTo>
                      <a:pt x="83" y="88"/>
                    </a:lnTo>
                    <a:lnTo>
                      <a:pt x="102" y="75"/>
                    </a:lnTo>
                    <a:lnTo>
                      <a:pt x="126" y="75"/>
                    </a:lnTo>
                    <a:lnTo>
                      <a:pt x="142" y="81"/>
                    </a:lnTo>
                    <a:lnTo>
                      <a:pt x="164" y="77"/>
                    </a:lnTo>
                    <a:lnTo>
                      <a:pt x="173" y="72"/>
                    </a:lnTo>
                    <a:lnTo>
                      <a:pt x="184" y="68"/>
                    </a:lnTo>
                    <a:lnTo>
                      <a:pt x="192" y="59"/>
                    </a:lnTo>
                    <a:lnTo>
                      <a:pt x="226" y="17"/>
                    </a:lnTo>
                    <a:lnTo>
                      <a:pt x="232" y="6"/>
                    </a:lnTo>
                    <a:lnTo>
                      <a:pt x="240" y="0"/>
                    </a:lnTo>
                    <a:lnTo>
                      <a:pt x="247" y="6"/>
                    </a:lnTo>
                    <a:lnTo>
                      <a:pt x="259" y="12"/>
                    </a:lnTo>
                    <a:lnTo>
                      <a:pt x="267" y="23"/>
                    </a:lnTo>
                    <a:lnTo>
                      <a:pt x="277" y="32"/>
                    </a:lnTo>
                    <a:lnTo>
                      <a:pt x="282" y="39"/>
                    </a:lnTo>
                    <a:lnTo>
                      <a:pt x="282" y="45"/>
                    </a:lnTo>
                    <a:lnTo>
                      <a:pt x="282" y="52"/>
                    </a:lnTo>
                    <a:lnTo>
                      <a:pt x="293" y="61"/>
                    </a:lnTo>
                    <a:lnTo>
                      <a:pt x="302" y="65"/>
                    </a:lnTo>
                    <a:lnTo>
                      <a:pt x="309" y="70"/>
                    </a:lnTo>
                    <a:lnTo>
                      <a:pt x="315" y="81"/>
                    </a:lnTo>
                    <a:lnTo>
                      <a:pt x="315" y="99"/>
                    </a:lnTo>
                    <a:lnTo>
                      <a:pt x="319" y="108"/>
                    </a:lnTo>
                    <a:lnTo>
                      <a:pt x="342" y="133"/>
                    </a:lnTo>
                    <a:lnTo>
                      <a:pt x="355" y="139"/>
                    </a:lnTo>
                    <a:lnTo>
                      <a:pt x="366" y="146"/>
                    </a:lnTo>
                    <a:lnTo>
                      <a:pt x="380" y="163"/>
                    </a:lnTo>
                    <a:lnTo>
                      <a:pt x="406" y="183"/>
                    </a:lnTo>
                    <a:lnTo>
                      <a:pt x="411" y="195"/>
                    </a:lnTo>
                    <a:lnTo>
                      <a:pt x="412" y="208"/>
                    </a:lnTo>
                    <a:lnTo>
                      <a:pt x="412" y="217"/>
                    </a:lnTo>
                    <a:lnTo>
                      <a:pt x="412" y="228"/>
                    </a:lnTo>
                    <a:lnTo>
                      <a:pt x="412" y="245"/>
                    </a:lnTo>
                    <a:lnTo>
                      <a:pt x="412" y="255"/>
                    </a:lnTo>
                    <a:lnTo>
                      <a:pt x="412" y="266"/>
                    </a:lnTo>
                    <a:lnTo>
                      <a:pt x="411" y="286"/>
                    </a:lnTo>
                    <a:lnTo>
                      <a:pt x="412" y="299"/>
                    </a:lnTo>
                    <a:lnTo>
                      <a:pt x="412" y="310"/>
                    </a:lnTo>
                    <a:lnTo>
                      <a:pt x="411" y="323"/>
                    </a:lnTo>
                    <a:lnTo>
                      <a:pt x="412" y="337"/>
                    </a:lnTo>
                    <a:lnTo>
                      <a:pt x="419" y="346"/>
                    </a:lnTo>
                    <a:lnTo>
                      <a:pt x="422" y="362"/>
                    </a:lnTo>
                    <a:lnTo>
                      <a:pt x="422" y="375"/>
                    </a:lnTo>
                    <a:lnTo>
                      <a:pt x="412" y="392"/>
                    </a:lnTo>
                    <a:lnTo>
                      <a:pt x="412" y="405"/>
                    </a:lnTo>
                    <a:lnTo>
                      <a:pt x="419" y="412"/>
                    </a:lnTo>
                    <a:lnTo>
                      <a:pt x="427" y="415"/>
                    </a:lnTo>
                    <a:lnTo>
                      <a:pt x="453" y="437"/>
                    </a:lnTo>
                    <a:lnTo>
                      <a:pt x="466" y="445"/>
                    </a:lnTo>
                    <a:lnTo>
                      <a:pt x="479" y="446"/>
                    </a:lnTo>
                    <a:lnTo>
                      <a:pt x="499" y="448"/>
                    </a:lnTo>
                    <a:lnTo>
                      <a:pt x="509" y="448"/>
                    </a:lnTo>
                    <a:lnTo>
                      <a:pt x="567" y="479"/>
                    </a:lnTo>
                    <a:lnTo>
                      <a:pt x="582" y="490"/>
                    </a:lnTo>
                    <a:lnTo>
                      <a:pt x="607" y="519"/>
                    </a:lnTo>
                    <a:lnTo>
                      <a:pt x="614" y="528"/>
                    </a:lnTo>
                    <a:lnTo>
                      <a:pt x="618" y="535"/>
                    </a:lnTo>
                    <a:lnTo>
                      <a:pt x="622" y="548"/>
                    </a:lnTo>
                    <a:lnTo>
                      <a:pt x="634" y="579"/>
                    </a:lnTo>
                    <a:lnTo>
                      <a:pt x="634" y="592"/>
                    </a:lnTo>
                    <a:lnTo>
                      <a:pt x="633" y="602"/>
                    </a:lnTo>
                    <a:lnTo>
                      <a:pt x="641" y="620"/>
                    </a:lnTo>
                    <a:lnTo>
                      <a:pt x="634" y="626"/>
                    </a:lnTo>
                    <a:lnTo>
                      <a:pt x="627" y="630"/>
                    </a:lnTo>
                    <a:lnTo>
                      <a:pt x="607" y="650"/>
                    </a:lnTo>
                    <a:lnTo>
                      <a:pt x="594" y="670"/>
                    </a:lnTo>
                    <a:lnTo>
                      <a:pt x="582" y="679"/>
                    </a:lnTo>
                    <a:lnTo>
                      <a:pt x="514" y="713"/>
                    </a:lnTo>
                    <a:lnTo>
                      <a:pt x="504" y="713"/>
                    </a:lnTo>
                    <a:lnTo>
                      <a:pt x="486" y="719"/>
                    </a:lnTo>
                    <a:lnTo>
                      <a:pt x="469" y="719"/>
                    </a:lnTo>
                    <a:lnTo>
                      <a:pt x="427" y="708"/>
                    </a:lnTo>
                    <a:lnTo>
                      <a:pt x="382" y="713"/>
                    </a:lnTo>
                    <a:lnTo>
                      <a:pt x="355" y="724"/>
                    </a:lnTo>
                    <a:lnTo>
                      <a:pt x="309" y="728"/>
                    </a:lnTo>
                    <a:lnTo>
                      <a:pt x="295" y="730"/>
                    </a:lnTo>
                    <a:lnTo>
                      <a:pt x="272" y="739"/>
                    </a:lnTo>
                    <a:lnTo>
                      <a:pt x="247" y="739"/>
                    </a:lnTo>
                    <a:lnTo>
                      <a:pt x="215" y="724"/>
                    </a:lnTo>
                    <a:lnTo>
                      <a:pt x="193" y="730"/>
                    </a:lnTo>
                    <a:lnTo>
                      <a:pt x="177" y="742"/>
                    </a:lnTo>
                    <a:lnTo>
                      <a:pt x="148" y="788"/>
                    </a:lnTo>
                    <a:lnTo>
                      <a:pt x="79" y="797"/>
                    </a:lnTo>
                  </a:path>
                </a:pathLst>
              </a:custGeom>
              <a:solidFill>
                <a:srgbClr val="349D96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67" name="Freeform 8"/>
              <p:cNvSpPr>
                <a:spLocks/>
              </p:cNvSpPr>
              <p:nvPr/>
            </p:nvSpPr>
            <p:spPr bwMode="auto">
              <a:xfrm>
                <a:off x="3783355" y="2572842"/>
                <a:ext cx="742767" cy="1045554"/>
              </a:xfrm>
              <a:custGeom>
                <a:avLst/>
                <a:gdLst/>
                <a:ahLst/>
                <a:cxnLst>
                  <a:cxn ang="0">
                    <a:pos x="450" y="1112"/>
                  </a:cxn>
                  <a:cxn ang="0">
                    <a:pos x="399" y="1113"/>
                  </a:cxn>
                  <a:cxn ang="0">
                    <a:pos x="349" y="1086"/>
                  </a:cxn>
                  <a:cxn ang="0">
                    <a:pos x="299" y="1057"/>
                  </a:cxn>
                  <a:cxn ang="0">
                    <a:pos x="254" y="1026"/>
                  </a:cxn>
                  <a:cxn ang="0">
                    <a:pos x="207" y="1018"/>
                  </a:cxn>
                  <a:cxn ang="0">
                    <a:pos x="150" y="979"/>
                  </a:cxn>
                  <a:cxn ang="0">
                    <a:pos x="101" y="921"/>
                  </a:cxn>
                  <a:cxn ang="0">
                    <a:pos x="57" y="873"/>
                  </a:cxn>
                  <a:cxn ang="0">
                    <a:pos x="35" y="828"/>
                  </a:cxn>
                  <a:cxn ang="0">
                    <a:pos x="45" y="774"/>
                  </a:cxn>
                  <a:cxn ang="0">
                    <a:pos x="61" y="743"/>
                  </a:cxn>
                  <a:cxn ang="0">
                    <a:pos x="39" y="692"/>
                  </a:cxn>
                  <a:cxn ang="0">
                    <a:pos x="63" y="643"/>
                  </a:cxn>
                  <a:cxn ang="0">
                    <a:pos x="15" y="626"/>
                  </a:cxn>
                  <a:cxn ang="0">
                    <a:pos x="5" y="576"/>
                  </a:cxn>
                  <a:cxn ang="0">
                    <a:pos x="17" y="522"/>
                  </a:cxn>
                  <a:cxn ang="0">
                    <a:pos x="23" y="470"/>
                  </a:cxn>
                  <a:cxn ang="0">
                    <a:pos x="63" y="437"/>
                  </a:cxn>
                  <a:cxn ang="0">
                    <a:pos x="121" y="415"/>
                  </a:cxn>
                  <a:cxn ang="0">
                    <a:pos x="139" y="374"/>
                  </a:cxn>
                  <a:cxn ang="0">
                    <a:pos x="174" y="335"/>
                  </a:cxn>
                  <a:cxn ang="0">
                    <a:pos x="143" y="288"/>
                  </a:cxn>
                  <a:cxn ang="0">
                    <a:pos x="115" y="234"/>
                  </a:cxn>
                  <a:cxn ang="0">
                    <a:pos x="73" y="195"/>
                  </a:cxn>
                  <a:cxn ang="0">
                    <a:pos x="79" y="150"/>
                  </a:cxn>
                  <a:cxn ang="0">
                    <a:pos x="92" y="95"/>
                  </a:cxn>
                  <a:cxn ang="0">
                    <a:pos x="119" y="50"/>
                  </a:cxn>
                  <a:cxn ang="0">
                    <a:pos x="167" y="19"/>
                  </a:cxn>
                  <a:cxn ang="0">
                    <a:pos x="214" y="0"/>
                  </a:cxn>
                  <a:cxn ang="0">
                    <a:pos x="252" y="37"/>
                  </a:cxn>
                  <a:cxn ang="0">
                    <a:pos x="312" y="13"/>
                  </a:cxn>
                  <a:cxn ang="0">
                    <a:pos x="343" y="37"/>
                  </a:cxn>
                  <a:cxn ang="0">
                    <a:pos x="342" y="86"/>
                  </a:cxn>
                  <a:cxn ang="0">
                    <a:pos x="357" y="135"/>
                  </a:cxn>
                  <a:cxn ang="0">
                    <a:pos x="397" y="179"/>
                  </a:cxn>
                  <a:cxn ang="0">
                    <a:pos x="432" y="210"/>
                  </a:cxn>
                  <a:cxn ang="0">
                    <a:pos x="484" y="262"/>
                  </a:cxn>
                  <a:cxn ang="0">
                    <a:pos x="524" y="295"/>
                  </a:cxn>
                  <a:cxn ang="0">
                    <a:pos x="534" y="342"/>
                  </a:cxn>
                  <a:cxn ang="0">
                    <a:pos x="579" y="379"/>
                  </a:cxn>
                  <a:cxn ang="0">
                    <a:pos x="632" y="422"/>
                  </a:cxn>
                  <a:cxn ang="0">
                    <a:pos x="679" y="442"/>
                  </a:cxn>
                  <a:cxn ang="0">
                    <a:pos x="714" y="481"/>
                  </a:cxn>
                  <a:cxn ang="0">
                    <a:pos x="854" y="526"/>
                  </a:cxn>
                  <a:cxn ang="0">
                    <a:pos x="833" y="574"/>
                  </a:cxn>
                  <a:cxn ang="0">
                    <a:pos x="796" y="637"/>
                  </a:cxn>
                  <a:cxn ang="0">
                    <a:pos x="762" y="689"/>
                  </a:cxn>
                  <a:cxn ang="0">
                    <a:pos x="632" y="724"/>
                  </a:cxn>
                  <a:cxn ang="0">
                    <a:pos x="634" y="794"/>
                  </a:cxn>
                  <a:cxn ang="0">
                    <a:pos x="619" y="853"/>
                  </a:cxn>
                  <a:cxn ang="0">
                    <a:pos x="574" y="926"/>
                  </a:cxn>
                  <a:cxn ang="0">
                    <a:pos x="579" y="1021"/>
                  </a:cxn>
                  <a:cxn ang="0">
                    <a:pos x="644" y="1053"/>
                  </a:cxn>
                  <a:cxn ang="0">
                    <a:pos x="722" y="1086"/>
                  </a:cxn>
                  <a:cxn ang="0">
                    <a:pos x="714" y="1157"/>
                  </a:cxn>
                </a:cxnLst>
                <a:rect l="0" t="0" r="r" b="b"/>
                <a:pathLst>
                  <a:path w="862" h="1161">
                    <a:moveTo>
                      <a:pt x="490" y="1145"/>
                    </a:moveTo>
                    <a:lnTo>
                      <a:pt x="482" y="1133"/>
                    </a:lnTo>
                    <a:lnTo>
                      <a:pt x="474" y="1125"/>
                    </a:lnTo>
                    <a:lnTo>
                      <a:pt x="469" y="1123"/>
                    </a:lnTo>
                    <a:lnTo>
                      <a:pt x="456" y="1118"/>
                    </a:lnTo>
                    <a:lnTo>
                      <a:pt x="450" y="1112"/>
                    </a:lnTo>
                    <a:lnTo>
                      <a:pt x="442" y="1108"/>
                    </a:lnTo>
                    <a:lnTo>
                      <a:pt x="430" y="1099"/>
                    </a:lnTo>
                    <a:lnTo>
                      <a:pt x="425" y="1105"/>
                    </a:lnTo>
                    <a:lnTo>
                      <a:pt x="417" y="1113"/>
                    </a:lnTo>
                    <a:lnTo>
                      <a:pt x="407" y="1118"/>
                    </a:lnTo>
                    <a:lnTo>
                      <a:pt x="399" y="1113"/>
                    </a:lnTo>
                    <a:lnTo>
                      <a:pt x="397" y="1103"/>
                    </a:lnTo>
                    <a:lnTo>
                      <a:pt x="394" y="1092"/>
                    </a:lnTo>
                    <a:lnTo>
                      <a:pt x="383" y="1086"/>
                    </a:lnTo>
                    <a:lnTo>
                      <a:pt x="370" y="1085"/>
                    </a:lnTo>
                    <a:lnTo>
                      <a:pt x="357" y="1086"/>
                    </a:lnTo>
                    <a:lnTo>
                      <a:pt x="349" y="1086"/>
                    </a:lnTo>
                    <a:lnTo>
                      <a:pt x="342" y="1086"/>
                    </a:lnTo>
                    <a:lnTo>
                      <a:pt x="332" y="1081"/>
                    </a:lnTo>
                    <a:lnTo>
                      <a:pt x="319" y="1072"/>
                    </a:lnTo>
                    <a:lnTo>
                      <a:pt x="312" y="1066"/>
                    </a:lnTo>
                    <a:lnTo>
                      <a:pt x="305" y="1063"/>
                    </a:lnTo>
                    <a:lnTo>
                      <a:pt x="299" y="1057"/>
                    </a:lnTo>
                    <a:lnTo>
                      <a:pt x="295" y="1046"/>
                    </a:lnTo>
                    <a:lnTo>
                      <a:pt x="290" y="1041"/>
                    </a:lnTo>
                    <a:lnTo>
                      <a:pt x="279" y="1041"/>
                    </a:lnTo>
                    <a:lnTo>
                      <a:pt x="268" y="1033"/>
                    </a:lnTo>
                    <a:lnTo>
                      <a:pt x="262" y="1033"/>
                    </a:lnTo>
                    <a:lnTo>
                      <a:pt x="254" y="1026"/>
                    </a:lnTo>
                    <a:lnTo>
                      <a:pt x="248" y="1018"/>
                    </a:lnTo>
                    <a:lnTo>
                      <a:pt x="239" y="1018"/>
                    </a:lnTo>
                    <a:lnTo>
                      <a:pt x="230" y="1013"/>
                    </a:lnTo>
                    <a:lnTo>
                      <a:pt x="223" y="1021"/>
                    </a:lnTo>
                    <a:lnTo>
                      <a:pt x="215" y="1021"/>
                    </a:lnTo>
                    <a:lnTo>
                      <a:pt x="207" y="1018"/>
                    </a:lnTo>
                    <a:lnTo>
                      <a:pt x="187" y="1008"/>
                    </a:lnTo>
                    <a:lnTo>
                      <a:pt x="175" y="1011"/>
                    </a:lnTo>
                    <a:lnTo>
                      <a:pt x="168" y="1006"/>
                    </a:lnTo>
                    <a:lnTo>
                      <a:pt x="167" y="991"/>
                    </a:lnTo>
                    <a:lnTo>
                      <a:pt x="159" y="979"/>
                    </a:lnTo>
                    <a:lnTo>
                      <a:pt x="150" y="979"/>
                    </a:lnTo>
                    <a:lnTo>
                      <a:pt x="150" y="966"/>
                    </a:lnTo>
                    <a:lnTo>
                      <a:pt x="143" y="963"/>
                    </a:lnTo>
                    <a:lnTo>
                      <a:pt x="137" y="953"/>
                    </a:lnTo>
                    <a:lnTo>
                      <a:pt x="121" y="943"/>
                    </a:lnTo>
                    <a:lnTo>
                      <a:pt x="119" y="930"/>
                    </a:lnTo>
                    <a:lnTo>
                      <a:pt x="101" y="921"/>
                    </a:lnTo>
                    <a:lnTo>
                      <a:pt x="93" y="916"/>
                    </a:lnTo>
                    <a:lnTo>
                      <a:pt x="85" y="911"/>
                    </a:lnTo>
                    <a:lnTo>
                      <a:pt x="70" y="898"/>
                    </a:lnTo>
                    <a:lnTo>
                      <a:pt x="63" y="893"/>
                    </a:lnTo>
                    <a:lnTo>
                      <a:pt x="61" y="883"/>
                    </a:lnTo>
                    <a:lnTo>
                      <a:pt x="57" y="873"/>
                    </a:lnTo>
                    <a:lnTo>
                      <a:pt x="53" y="866"/>
                    </a:lnTo>
                    <a:lnTo>
                      <a:pt x="45" y="861"/>
                    </a:lnTo>
                    <a:lnTo>
                      <a:pt x="41" y="858"/>
                    </a:lnTo>
                    <a:lnTo>
                      <a:pt x="39" y="848"/>
                    </a:lnTo>
                    <a:lnTo>
                      <a:pt x="39" y="837"/>
                    </a:lnTo>
                    <a:lnTo>
                      <a:pt x="35" y="828"/>
                    </a:lnTo>
                    <a:lnTo>
                      <a:pt x="33" y="819"/>
                    </a:lnTo>
                    <a:lnTo>
                      <a:pt x="28" y="811"/>
                    </a:lnTo>
                    <a:lnTo>
                      <a:pt x="33" y="803"/>
                    </a:lnTo>
                    <a:lnTo>
                      <a:pt x="30" y="788"/>
                    </a:lnTo>
                    <a:lnTo>
                      <a:pt x="35" y="777"/>
                    </a:lnTo>
                    <a:lnTo>
                      <a:pt x="45" y="774"/>
                    </a:lnTo>
                    <a:lnTo>
                      <a:pt x="52" y="770"/>
                    </a:lnTo>
                    <a:lnTo>
                      <a:pt x="55" y="763"/>
                    </a:lnTo>
                    <a:lnTo>
                      <a:pt x="63" y="763"/>
                    </a:lnTo>
                    <a:lnTo>
                      <a:pt x="73" y="754"/>
                    </a:lnTo>
                    <a:lnTo>
                      <a:pt x="66" y="748"/>
                    </a:lnTo>
                    <a:lnTo>
                      <a:pt x="61" y="743"/>
                    </a:lnTo>
                    <a:lnTo>
                      <a:pt x="63" y="729"/>
                    </a:lnTo>
                    <a:lnTo>
                      <a:pt x="61" y="724"/>
                    </a:lnTo>
                    <a:lnTo>
                      <a:pt x="55" y="714"/>
                    </a:lnTo>
                    <a:lnTo>
                      <a:pt x="45" y="714"/>
                    </a:lnTo>
                    <a:lnTo>
                      <a:pt x="45" y="701"/>
                    </a:lnTo>
                    <a:lnTo>
                      <a:pt x="39" y="692"/>
                    </a:lnTo>
                    <a:lnTo>
                      <a:pt x="45" y="684"/>
                    </a:lnTo>
                    <a:lnTo>
                      <a:pt x="53" y="676"/>
                    </a:lnTo>
                    <a:lnTo>
                      <a:pt x="61" y="668"/>
                    </a:lnTo>
                    <a:lnTo>
                      <a:pt x="63" y="657"/>
                    </a:lnTo>
                    <a:lnTo>
                      <a:pt x="68" y="652"/>
                    </a:lnTo>
                    <a:lnTo>
                      <a:pt x="63" y="643"/>
                    </a:lnTo>
                    <a:lnTo>
                      <a:pt x="55" y="643"/>
                    </a:lnTo>
                    <a:lnTo>
                      <a:pt x="46" y="644"/>
                    </a:lnTo>
                    <a:lnTo>
                      <a:pt x="39" y="644"/>
                    </a:lnTo>
                    <a:lnTo>
                      <a:pt x="33" y="637"/>
                    </a:lnTo>
                    <a:lnTo>
                      <a:pt x="17" y="634"/>
                    </a:lnTo>
                    <a:lnTo>
                      <a:pt x="15" y="626"/>
                    </a:lnTo>
                    <a:lnTo>
                      <a:pt x="17" y="617"/>
                    </a:lnTo>
                    <a:lnTo>
                      <a:pt x="15" y="608"/>
                    </a:lnTo>
                    <a:lnTo>
                      <a:pt x="10" y="602"/>
                    </a:lnTo>
                    <a:lnTo>
                      <a:pt x="3" y="594"/>
                    </a:lnTo>
                    <a:lnTo>
                      <a:pt x="0" y="582"/>
                    </a:lnTo>
                    <a:lnTo>
                      <a:pt x="5" y="576"/>
                    </a:lnTo>
                    <a:lnTo>
                      <a:pt x="0" y="566"/>
                    </a:lnTo>
                    <a:lnTo>
                      <a:pt x="5" y="559"/>
                    </a:lnTo>
                    <a:lnTo>
                      <a:pt x="6" y="550"/>
                    </a:lnTo>
                    <a:lnTo>
                      <a:pt x="10" y="541"/>
                    </a:lnTo>
                    <a:lnTo>
                      <a:pt x="10" y="530"/>
                    </a:lnTo>
                    <a:lnTo>
                      <a:pt x="17" y="522"/>
                    </a:lnTo>
                    <a:lnTo>
                      <a:pt x="23" y="510"/>
                    </a:lnTo>
                    <a:lnTo>
                      <a:pt x="30" y="504"/>
                    </a:lnTo>
                    <a:lnTo>
                      <a:pt x="35" y="497"/>
                    </a:lnTo>
                    <a:lnTo>
                      <a:pt x="41" y="486"/>
                    </a:lnTo>
                    <a:lnTo>
                      <a:pt x="33" y="481"/>
                    </a:lnTo>
                    <a:lnTo>
                      <a:pt x="23" y="470"/>
                    </a:lnTo>
                    <a:lnTo>
                      <a:pt x="15" y="457"/>
                    </a:lnTo>
                    <a:lnTo>
                      <a:pt x="25" y="454"/>
                    </a:lnTo>
                    <a:lnTo>
                      <a:pt x="30" y="452"/>
                    </a:lnTo>
                    <a:lnTo>
                      <a:pt x="45" y="442"/>
                    </a:lnTo>
                    <a:lnTo>
                      <a:pt x="53" y="437"/>
                    </a:lnTo>
                    <a:lnTo>
                      <a:pt x="63" y="437"/>
                    </a:lnTo>
                    <a:lnTo>
                      <a:pt x="70" y="434"/>
                    </a:lnTo>
                    <a:lnTo>
                      <a:pt x="87" y="432"/>
                    </a:lnTo>
                    <a:lnTo>
                      <a:pt x="93" y="424"/>
                    </a:lnTo>
                    <a:lnTo>
                      <a:pt x="103" y="422"/>
                    </a:lnTo>
                    <a:lnTo>
                      <a:pt x="112" y="421"/>
                    </a:lnTo>
                    <a:lnTo>
                      <a:pt x="121" y="415"/>
                    </a:lnTo>
                    <a:lnTo>
                      <a:pt x="127" y="412"/>
                    </a:lnTo>
                    <a:lnTo>
                      <a:pt x="135" y="402"/>
                    </a:lnTo>
                    <a:lnTo>
                      <a:pt x="143" y="397"/>
                    </a:lnTo>
                    <a:lnTo>
                      <a:pt x="150" y="390"/>
                    </a:lnTo>
                    <a:lnTo>
                      <a:pt x="147" y="382"/>
                    </a:lnTo>
                    <a:lnTo>
                      <a:pt x="139" y="374"/>
                    </a:lnTo>
                    <a:lnTo>
                      <a:pt x="143" y="367"/>
                    </a:lnTo>
                    <a:lnTo>
                      <a:pt x="148" y="355"/>
                    </a:lnTo>
                    <a:lnTo>
                      <a:pt x="161" y="354"/>
                    </a:lnTo>
                    <a:lnTo>
                      <a:pt x="174" y="350"/>
                    </a:lnTo>
                    <a:lnTo>
                      <a:pt x="177" y="344"/>
                    </a:lnTo>
                    <a:lnTo>
                      <a:pt x="174" y="335"/>
                    </a:lnTo>
                    <a:lnTo>
                      <a:pt x="170" y="321"/>
                    </a:lnTo>
                    <a:lnTo>
                      <a:pt x="161" y="315"/>
                    </a:lnTo>
                    <a:lnTo>
                      <a:pt x="152" y="312"/>
                    </a:lnTo>
                    <a:lnTo>
                      <a:pt x="148" y="304"/>
                    </a:lnTo>
                    <a:lnTo>
                      <a:pt x="139" y="300"/>
                    </a:lnTo>
                    <a:lnTo>
                      <a:pt x="143" y="288"/>
                    </a:lnTo>
                    <a:lnTo>
                      <a:pt x="135" y="285"/>
                    </a:lnTo>
                    <a:lnTo>
                      <a:pt x="130" y="275"/>
                    </a:lnTo>
                    <a:lnTo>
                      <a:pt x="127" y="267"/>
                    </a:lnTo>
                    <a:lnTo>
                      <a:pt x="115" y="252"/>
                    </a:lnTo>
                    <a:lnTo>
                      <a:pt x="110" y="240"/>
                    </a:lnTo>
                    <a:lnTo>
                      <a:pt x="115" y="234"/>
                    </a:lnTo>
                    <a:lnTo>
                      <a:pt x="115" y="228"/>
                    </a:lnTo>
                    <a:lnTo>
                      <a:pt x="103" y="219"/>
                    </a:lnTo>
                    <a:lnTo>
                      <a:pt x="95" y="214"/>
                    </a:lnTo>
                    <a:lnTo>
                      <a:pt x="87" y="214"/>
                    </a:lnTo>
                    <a:lnTo>
                      <a:pt x="79" y="208"/>
                    </a:lnTo>
                    <a:lnTo>
                      <a:pt x="73" y="195"/>
                    </a:lnTo>
                    <a:lnTo>
                      <a:pt x="73" y="187"/>
                    </a:lnTo>
                    <a:lnTo>
                      <a:pt x="79" y="182"/>
                    </a:lnTo>
                    <a:lnTo>
                      <a:pt x="92" y="179"/>
                    </a:lnTo>
                    <a:lnTo>
                      <a:pt x="90" y="167"/>
                    </a:lnTo>
                    <a:lnTo>
                      <a:pt x="87" y="159"/>
                    </a:lnTo>
                    <a:lnTo>
                      <a:pt x="79" y="150"/>
                    </a:lnTo>
                    <a:lnTo>
                      <a:pt x="73" y="140"/>
                    </a:lnTo>
                    <a:lnTo>
                      <a:pt x="77" y="130"/>
                    </a:lnTo>
                    <a:lnTo>
                      <a:pt x="81" y="120"/>
                    </a:lnTo>
                    <a:lnTo>
                      <a:pt x="88" y="115"/>
                    </a:lnTo>
                    <a:lnTo>
                      <a:pt x="92" y="105"/>
                    </a:lnTo>
                    <a:lnTo>
                      <a:pt x="92" y="95"/>
                    </a:lnTo>
                    <a:lnTo>
                      <a:pt x="81" y="86"/>
                    </a:lnTo>
                    <a:lnTo>
                      <a:pt x="77" y="77"/>
                    </a:lnTo>
                    <a:lnTo>
                      <a:pt x="81" y="70"/>
                    </a:lnTo>
                    <a:lnTo>
                      <a:pt x="87" y="53"/>
                    </a:lnTo>
                    <a:lnTo>
                      <a:pt x="95" y="50"/>
                    </a:lnTo>
                    <a:lnTo>
                      <a:pt x="119" y="50"/>
                    </a:lnTo>
                    <a:lnTo>
                      <a:pt x="133" y="45"/>
                    </a:lnTo>
                    <a:lnTo>
                      <a:pt x="143" y="45"/>
                    </a:lnTo>
                    <a:lnTo>
                      <a:pt x="150" y="37"/>
                    </a:lnTo>
                    <a:lnTo>
                      <a:pt x="148" y="26"/>
                    </a:lnTo>
                    <a:lnTo>
                      <a:pt x="153" y="17"/>
                    </a:lnTo>
                    <a:lnTo>
                      <a:pt x="167" y="19"/>
                    </a:lnTo>
                    <a:lnTo>
                      <a:pt x="181" y="23"/>
                    </a:lnTo>
                    <a:lnTo>
                      <a:pt x="183" y="13"/>
                    </a:lnTo>
                    <a:lnTo>
                      <a:pt x="194" y="10"/>
                    </a:lnTo>
                    <a:lnTo>
                      <a:pt x="205" y="17"/>
                    </a:lnTo>
                    <a:lnTo>
                      <a:pt x="208" y="8"/>
                    </a:lnTo>
                    <a:lnTo>
                      <a:pt x="214" y="0"/>
                    </a:lnTo>
                    <a:lnTo>
                      <a:pt x="223" y="0"/>
                    </a:lnTo>
                    <a:lnTo>
                      <a:pt x="232" y="8"/>
                    </a:lnTo>
                    <a:lnTo>
                      <a:pt x="239" y="13"/>
                    </a:lnTo>
                    <a:lnTo>
                      <a:pt x="237" y="28"/>
                    </a:lnTo>
                    <a:lnTo>
                      <a:pt x="245" y="30"/>
                    </a:lnTo>
                    <a:lnTo>
                      <a:pt x="252" y="37"/>
                    </a:lnTo>
                    <a:lnTo>
                      <a:pt x="265" y="37"/>
                    </a:lnTo>
                    <a:lnTo>
                      <a:pt x="274" y="33"/>
                    </a:lnTo>
                    <a:lnTo>
                      <a:pt x="282" y="28"/>
                    </a:lnTo>
                    <a:lnTo>
                      <a:pt x="295" y="28"/>
                    </a:lnTo>
                    <a:lnTo>
                      <a:pt x="302" y="23"/>
                    </a:lnTo>
                    <a:lnTo>
                      <a:pt x="312" y="13"/>
                    </a:lnTo>
                    <a:lnTo>
                      <a:pt x="323" y="17"/>
                    </a:lnTo>
                    <a:lnTo>
                      <a:pt x="334" y="13"/>
                    </a:lnTo>
                    <a:lnTo>
                      <a:pt x="343" y="10"/>
                    </a:lnTo>
                    <a:lnTo>
                      <a:pt x="343" y="19"/>
                    </a:lnTo>
                    <a:lnTo>
                      <a:pt x="342" y="28"/>
                    </a:lnTo>
                    <a:lnTo>
                      <a:pt x="343" y="37"/>
                    </a:lnTo>
                    <a:lnTo>
                      <a:pt x="357" y="45"/>
                    </a:lnTo>
                    <a:lnTo>
                      <a:pt x="347" y="52"/>
                    </a:lnTo>
                    <a:lnTo>
                      <a:pt x="343" y="60"/>
                    </a:lnTo>
                    <a:lnTo>
                      <a:pt x="349" y="66"/>
                    </a:lnTo>
                    <a:lnTo>
                      <a:pt x="357" y="72"/>
                    </a:lnTo>
                    <a:lnTo>
                      <a:pt x="342" y="86"/>
                    </a:lnTo>
                    <a:lnTo>
                      <a:pt x="335" y="95"/>
                    </a:lnTo>
                    <a:lnTo>
                      <a:pt x="343" y="103"/>
                    </a:lnTo>
                    <a:lnTo>
                      <a:pt x="343" y="112"/>
                    </a:lnTo>
                    <a:lnTo>
                      <a:pt x="347" y="120"/>
                    </a:lnTo>
                    <a:lnTo>
                      <a:pt x="349" y="130"/>
                    </a:lnTo>
                    <a:lnTo>
                      <a:pt x="357" y="135"/>
                    </a:lnTo>
                    <a:lnTo>
                      <a:pt x="372" y="140"/>
                    </a:lnTo>
                    <a:lnTo>
                      <a:pt x="379" y="147"/>
                    </a:lnTo>
                    <a:lnTo>
                      <a:pt x="390" y="153"/>
                    </a:lnTo>
                    <a:lnTo>
                      <a:pt x="397" y="155"/>
                    </a:lnTo>
                    <a:lnTo>
                      <a:pt x="402" y="170"/>
                    </a:lnTo>
                    <a:lnTo>
                      <a:pt x="397" y="179"/>
                    </a:lnTo>
                    <a:lnTo>
                      <a:pt x="387" y="187"/>
                    </a:lnTo>
                    <a:lnTo>
                      <a:pt x="387" y="199"/>
                    </a:lnTo>
                    <a:lnTo>
                      <a:pt x="394" y="208"/>
                    </a:lnTo>
                    <a:lnTo>
                      <a:pt x="410" y="217"/>
                    </a:lnTo>
                    <a:lnTo>
                      <a:pt x="425" y="217"/>
                    </a:lnTo>
                    <a:lnTo>
                      <a:pt x="432" y="210"/>
                    </a:lnTo>
                    <a:lnTo>
                      <a:pt x="442" y="222"/>
                    </a:lnTo>
                    <a:lnTo>
                      <a:pt x="450" y="234"/>
                    </a:lnTo>
                    <a:lnTo>
                      <a:pt x="459" y="242"/>
                    </a:lnTo>
                    <a:lnTo>
                      <a:pt x="465" y="252"/>
                    </a:lnTo>
                    <a:lnTo>
                      <a:pt x="472" y="257"/>
                    </a:lnTo>
                    <a:lnTo>
                      <a:pt x="484" y="262"/>
                    </a:lnTo>
                    <a:lnTo>
                      <a:pt x="490" y="267"/>
                    </a:lnTo>
                    <a:lnTo>
                      <a:pt x="504" y="268"/>
                    </a:lnTo>
                    <a:lnTo>
                      <a:pt x="510" y="272"/>
                    </a:lnTo>
                    <a:lnTo>
                      <a:pt x="517" y="277"/>
                    </a:lnTo>
                    <a:lnTo>
                      <a:pt x="517" y="288"/>
                    </a:lnTo>
                    <a:lnTo>
                      <a:pt x="524" y="295"/>
                    </a:lnTo>
                    <a:lnTo>
                      <a:pt x="536" y="295"/>
                    </a:lnTo>
                    <a:lnTo>
                      <a:pt x="539" y="304"/>
                    </a:lnTo>
                    <a:lnTo>
                      <a:pt x="544" y="315"/>
                    </a:lnTo>
                    <a:lnTo>
                      <a:pt x="539" y="324"/>
                    </a:lnTo>
                    <a:lnTo>
                      <a:pt x="536" y="334"/>
                    </a:lnTo>
                    <a:lnTo>
                      <a:pt x="534" y="342"/>
                    </a:lnTo>
                    <a:lnTo>
                      <a:pt x="537" y="354"/>
                    </a:lnTo>
                    <a:lnTo>
                      <a:pt x="544" y="362"/>
                    </a:lnTo>
                    <a:lnTo>
                      <a:pt x="551" y="367"/>
                    </a:lnTo>
                    <a:lnTo>
                      <a:pt x="559" y="379"/>
                    </a:lnTo>
                    <a:lnTo>
                      <a:pt x="571" y="379"/>
                    </a:lnTo>
                    <a:lnTo>
                      <a:pt x="579" y="379"/>
                    </a:lnTo>
                    <a:lnTo>
                      <a:pt x="592" y="388"/>
                    </a:lnTo>
                    <a:lnTo>
                      <a:pt x="602" y="397"/>
                    </a:lnTo>
                    <a:lnTo>
                      <a:pt x="611" y="404"/>
                    </a:lnTo>
                    <a:lnTo>
                      <a:pt x="616" y="412"/>
                    </a:lnTo>
                    <a:lnTo>
                      <a:pt x="624" y="417"/>
                    </a:lnTo>
                    <a:lnTo>
                      <a:pt x="632" y="422"/>
                    </a:lnTo>
                    <a:lnTo>
                      <a:pt x="642" y="422"/>
                    </a:lnTo>
                    <a:lnTo>
                      <a:pt x="651" y="422"/>
                    </a:lnTo>
                    <a:lnTo>
                      <a:pt x="656" y="429"/>
                    </a:lnTo>
                    <a:lnTo>
                      <a:pt x="671" y="432"/>
                    </a:lnTo>
                    <a:lnTo>
                      <a:pt x="678" y="434"/>
                    </a:lnTo>
                    <a:lnTo>
                      <a:pt x="679" y="442"/>
                    </a:lnTo>
                    <a:lnTo>
                      <a:pt x="674" y="449"/>
                    </a:lnTo>
                    <a:lnTo>
                      <a:pt x="676" y="461"/>
                    </a:lnTo>
                    <a:lnTo>
                      <a:pt x="687" y="462"/>
                    </a:lnTo>
                    <a:lnTo>
                      <a:pt x="696" y="470"/>
                    </a:lnTo>
                    <a:lnTo>
                      <a:pt x="711" y="474"/>
                    </a:lnTo>
                    <a:lnTo>
                      <a:pt x="714" y="481"/>
                    </a:lnTo>
                    <a:lnTo>
                      <a:pt x="719" y="494"/>
                    </a:lnTo>
                    <a:lnTo>
                      <a:pt x="726" y="506"/>
                    </a:lnTo>
                    <a:lnTo>
                      <a:pt x="727" y="512"/>
                    </a:lnTo>
                    <a:lnTo>
                      <a:pt x="727" y="522"/>
                    </a:lnTo>
                    <a:lnTo>
                      <a:pt x="738" y="526"/>
                    </a:lnTo>
                    <a:lnTo>
                      <a:pt x="854" y="526"/>
                    </a:lnTo>
                    <a:lnTo>
                      <a:pt x="861" y="536"/>
                    </a:lnTo>
                    <a:lnTo>
                      <a:pt x="861" y="544"/>
                    </a:lnTo>
                    <a:lnTo>
                      <a:pt x="854" y="554"/>
                    </a:lnTo>
                    <a:lnTo>
                      <a:pt x="846" y="562"/>
                    </a:lnTo>
                    <a:lnTo>
                      <a:pt x="839" y="566"/>
                    </a:lnTo>
                    <a:lnTo>
                      <a:pt x="833" y="574"/>
                    </a:lnTo>
                    <a:lnTo>
                      <a:pt x="827" y="579"/>
                    </a:lnTo>
                    <a:lnTo>
                      <a:pt x="831" y="596"/>
                    </a:lnTo>
                    <a:lnTo>
                      <a:pt x="827" y="614"/>
                    </a:lnTo>
                    <a:lnTo>
                      <a:pt x="819" y="619"/>
                    </a:lnTo>
                    <a:lnTo>
                      <a:pt x="802" y="628"/>
                    </a:lnTo>
                    <a:lnTo>
                      <a:pt x="796" y="637"/>
                    </a:lnTo>
                    <a:lnTo>
                      <a:pt x="794" y="648"/>
                    </a:lnTo>
                    <a:lnTo>
                      <a:pt x="791" y="661"/>
                    </a:lnTo>
                    <a:lnTo>
                      <a:pt x="787" y="668"/>
                    </a:lnTo>
                    <a:lnTo>
                      <a:pt x="779" y="677"/>
                    </a:lnTo>
                    <a:lnTo>
                      <a:pt x="776" y="689"/>
                    </a:lnTo>
                    <a:lnTo>
                      <a:pt x="762" y="689"/>
                    </a:lnTo>
                    <a:lnTo>
                      <a:pt x="718" y="703"/>
                    </a:lnTo>
                    <a:lnTo>
                      <a:pt x="706" y="701"/>
                    </a:lnTo>
                    <a:lnTo>
                      <a:pt x="692" y="694"/>
                    </a:lnTo>
                    <a:lnTo>
                      <a:pt x="649" y="709"/>
                    </a:lnTo>
                    <a:lnTo>
                      <a:pt x="638" y="716"/>
                    </a:lnTo>
                    <a:lnTo>
                      <a:pt x="632" y="724"/>
                    </a:lnTo>
                    <a:lnTo>
                      <a:pt x="629" y="736"/>
                    </a:lnTo>
                    <a:lnTo>
                      <a:pt x="629" y="748"/>
                    </a:lnTo>
                    <a:lnTo>
                      <a:pt x="634" y="756"/>
                    </a:lnTo>
                    <a:lnTo>
                      <a:pt x="644" y="777"/>
                    </a:lnTo>
                    <a:lnTo>
                      <a:pt x="642" y="784"/>
                    </a:lnTo>
                    <a:lnTo>
                      <a:pt x="634" y="794"/>
                    </a:lnTo>
                    <a:lnTo>
                      <a:pt x="629" y="803"/>
                    </a:lnTo>
                    <a:lnTo>
                      <a:pt x="624" y="811"/>
                    </a:lnTo>
                    <a:lnTo>
                      <a:pt x="619" y="819"/>
                    </a:lnTo>
                    <a:lnTo>
                      <a:pt x="616" y="831"/>
                    </a:lnTo>
                    <a:lnTo>
                      <a:pt x="619" y="844"/>
                    </a:lnTo>
                    <a:lnTo>
                      <a:pt x="619" y="853"/>
                    </a:lnTo>
                    <a:lnTo>
                      <a:pt x="616" y="863"/>
                    </a:lnTo>
                    <a:lnTo>
                      <a:pt x="609" y="873"/>
                    </a:lnTo>
                    <a:lnTo>
                      <a:pt x="607" y="884"/>
                    </a:lnTo>
                    <a:lnTo>
                      <a:pt x="594" y="898"/>
                    </a:lnTo>
                    <a:lnTo>
                      <a:pt x="587" y="903"/>
                    </a:lnTo>
                    <a:lnTo>
                      <a:pt x="574" y="926"/>
                    </a:lnTo>
                    <a:lnTo>
                      <a:pt x="569" y="971"/>
                    </a:lnTo>
                    <a:lnTo>
                      <a:pt x="565" y="983"/>
                    </a:lnTo>
                    <a:lnTo>
                      <a:pt x="571" y="991"/>
                    </a:lnTo>
                    <a:lnTo>
                      <a:pt x="571" y="1003"/>
                    </a:lnTo>
                    <a:lnTo>
                      <a:pt x="576" y="1008"/>
                    </a:lnTo>
                    <a:lnTo>
                      <a:pt x="579" y="1021"/>
                    </a:lnTo>
                    <a:lnTo>
                      <a:pt x="584" y="1030"/>
                    </a:lnTo>
                    <a:lnTo>
                      <a:pt x="587" y="1038"/>
                    </a:lnTo>
                    <a:lnTo>
                      <a:pt x="609" y="1050"/>
                    </a:lnTo>
                    <a:lnTo>
                      <a:pt x="619" y="1051"/>
                    </a:lnTo>
                    <a:lnTo>
                      <a:pt x="629" y="1051"/>
                    </a:lnTo>
                    <a:lnTo>
                      <a:pt x="644" y="1053"/>
                    </a:lnTo>
                    <a:lnTo>
                      <a:pt x="665" y="1061"/>
                    </a:lnTo>
                    <a:lnTo>
                      <a:pt x="691" y="1063"/>
                    </a:lnTo>
                    <a:lnTo>
                      <a:pt x="698" y="1066"/>
                    </a:lnTo>
                    <a:lnTo>
                      <a:pt x="707" y="1077"/>
                    </a:lnTo>
                    <a:lnTo>
                      <a:pt x="714" y="1085"/>
                    </a:lnTo>
                    <a:lnTo>
                      <a:pt x="722" y="1086"/>
                    </a:lnTo>
                    <a:lnTo>
                      <a:pt x="722" y="1099"/>
                    </a:lnTo>
                    <a:lnTo>
                      <a:pt x="722" y="1108"/>
                    </a:lnTo>
                    <a:lnTo>
                      <a:pt x="722" y="1118"/>
                    </a:lnTo>
                    <a:lnTo>
                      <a:pt x="719" y="1143"/>
                    </a:lnTo>
                    <a:lnTo>
                      <a:pt x="718" y="1150"/>
                    </a:lnTo>
                    <a:lnTo>
                      <a:pt x="714" y="1157"/>
                    </a:lnTo>
                    <a:lnTo>
                      <a:pt x="522" y="1160"/>
                    </a:lnTo>
                    <a:lnTo>
                      <a:pt x="514" y="1150"/>
                    </a:lnTo>
                    <a:lnTo>
                      <a:pt x="499" y="1145"/>
                    </a:lnTo>
                    <a:lnTo>
                      <a:pt x="490" y="1145"/>
                    </a:lnTo>
                  </a:path>
                </a:pathLst>
              </a:custGeom>
              <a:solidFill>
                <a:srgbClr val="349D96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68" name="Freeform 9"/>
              <p:cNvSpPr>
                <a:spLocks/>
              </p:cNvSpPr>
              <p:nvPr/>
            </p:nvSpPr>
            <p:spPr bwMode="auto">
              <a:xfrm>
                <a:off x="1777366" y="2643086"/>
                <a:ext cx="1031430" cy="462890"/>
              </a:xfrm>
              <a:custGeom>
                <a:avLst/>
                <a:gdLst/>
                <a:ahLst/>
                <a:cxnLst>
                  <a:cxn ang="0">
                    <a:pos x="1196" y="309"/>
                  </a:cxn>
                  <a:cxn ang="0">
                    <a:pos x="1117" y="319"/>
                  </a:cxn>
                  <a:cxn ang="0">
                    <a:pos x="1088" y="274"/>
                  </a:cxn>
                  <a:cxn ang="0">
                    <a:pos x="1069" y="257"/>
                  </a:cxn>
                  <a:cxn ang="0">
                    <a:pos x="1069" y="227"/>
                  </a:cxn>
                  <a:cxn ang="0">
                    <a:pos x="1037" y="242"/>
                  </a:cxn>
                  <a:cxn ang="0">
                    <a:pos x="1002" y="272"/>
                  </a:cxn>
                  <a:cxn ang="0">
                    <a:pos x="969" y="286"/>
                  </a:cxn>
                  <a:cxn ang="0">
                    <a:pos x="937" y="286"/>
                  </a:cxn>
                  <a:cxn ang="0">
                    <a:pos x="892" y="284"/>
                  </a:cxn>
                  <a:cxn ang="0">
                    <a:pos x="862" y="274"/>
                  </a:cxn>
                  <a:cxn ang="0">
                    <a:pos x="846" y="259"/>
                  </a:cxn>
                  <a:cxn ang="0">
                    <a:pos x="809" y="264"/>
                  </a:cxn>
                  <a:cxn ang="0">
                    <a:pos x="787" y="247"/>
                  </a:cxn>
                  <a:cxn ang="0">
                    <a:pos x="755" y="259"/>
                  </a:cxn>
                  <a:cxn ang="0">
                    <a:pos x="726" y="247"/>
                  </a:cxn>
                  <a:cxn ang="0">
                    <a:pos x="684" y="229"/>
                  </a:cxn>
                  <a:cxn ang="0">
                    <a:pos x="640" y="239"/>
                  </a:cxn>
                  <a:cxn ang="0">
                    <a:pos x="597" y="234"/>
                  </a:cxn>
                  <a:cxn ang="0">
                    <a:pos x="559" y="232"/>
                  </a:cxn>
                  <a:cxn ang="0">
                    <a:pos x="530" y="224"/>
                  </a:cxn>
                  <a:cxn ang="0">
                    <a:pos x="494" y="219"/>
                  </a:cxn>
                  <a:cxn ang="0">
                    <a:pos x="452" y="204"/>
                  </a:cxn>
                  <a:cxn ang="0">
                    <a:pos x="428" y="184"/>
                  </a:cxn>
                  <a:cxn ang="0">
                    <a:pos x="407" y="165"/>
                  </a:cxn>
                  <a:cxn ang="0">
                    <a:pos x="365" y="144"/>
                  </a:cxn>
                  <a:cxn ang="0">
                    <a:pos x="340" y="132"/>
                  </a:cxn>
                  <a:cxn ang="0">
                    <a:pos x="315" y="139"/>
                  </a:cxn>
                  <a:cxn ang="0">
                    <a:pos x="279" y="113"/>
                  </a:cxn>
                  <a:cxn ang="0">
                    <a:pos x="257" y="108"/>
                  </a:cxn>
                  <a:cxn ang="0">
                    <a:pos x="105" y="15"/>
                  </a:cxn>
                  <a:cxn ang="0">
                    <a:pos x="79" y="5"/>
                  </a:cxn>
                  <a:cxn ang="0">
                    <a:pos x="21" y="0"/>
                  </a:cxn>
                  <a:cxn ang="0">
                    <a:pos x="43" y="35"/>
                  </a:cxn>
                  <a:cxn ang="0">
                    <a:pos x="65" y="68"/>
                  </a:cxn>
                  <a:cxn ang="0">
                    <a:pos x="53" y="97"/>
                  </a:cxn>
                  <a:cxn ang="0">
                    <a:pos x="52" y="125"/>
                  </a:cxn>
                  <a:cxn ang="0">
                    <a:pos x="46" y="155"/>
                  </a:cxn>
                  <a:cxn ang="0">
                    <a:pos x="37" y="185"/>
                  </a:cxn>
                  <a:cxn ang="0">
                    <a:pos x="0" y="193"/>
                  </a:cxn>
                  <a:cxn ang="0">
                    <a:pos x="28" y="227"/>
                  </a:cxn>
                  <a:cxn ang="0">
                    <a:pos x="41" y="257"/>
                  </a:cxn>
                  <a:cxn ang="0">
                    <a:pos x="35" y="286"/>
                  </a:cxn>
                  <a:cxn ang="0">
                    <a:pos x="43" y="312"/>
                  </a:cxn>
                  <a:cxn ang="0">
                    <a:pos x="28" y="344"/>
                  </a:cxn>
                  <a:cxn ang="0">
                    <a:pos x="46" y="376"/>
                  </a:cxn>
                  <a:cxn ang="0">
                    <a:pos x="57" y="401"/>
                  </a:cxn>
                  <a:cxn ang="0">
                    <a:pos x="65" y="429"/>
                  </a:cxn>
                  <a:cxn ang="0">
                    <a:pos x="68" y="461"/>
                  </a:cxn>
                  <a:cxn ang="0">
                    <a:pos x="827" y="499"/>
                  </a:cxn>
                  <a:cxn ang="0">
                    <a:pos x="1168" y="513"/>
                  </a:cxn>
                  <a:cxn ang="0">
                    <a:pos x="1188" y="334"/>
                  </a:cxn>
                </a:cxnLst>
                <a:rect l="0" t="0" r="r" b="b"/>
                <a:pathLst>
                  <a:path w="1197" h="514">
                    <a:moveTo>
                      <a:pt x="1188" y="334"/>
                    </a:moveTo>
                    <a:lnTo>
                      <a:pt x="1188" y="327"/>
                    </a:lnTo>
                    <a:lnTo>
                      <a:pt x="1196" y="309"/>
                    </a:lnTo>
                    <a:lnTo>
                      <a:pt x="1177" y="304"/>
                    </a:lnTo>
                    <a:lnTo>
                      <a:pt x="1159" y="304"/>
                    </a:lnTo>
                    <a:lnTo>
                      <a:pt x="1117" y="319"/>
                    </a:lnTo>
                    <a:lnTo>
                      <a:pt x="1109" y="300"/>
                    </a:lnTo>
                    <a:lnTo>
                      <a:pt x="1099" y="284"/>
                    </a:lnTo>
                    <a:lnTo>
                      <a:pt x="1088" y="274"/>
                    </a:lnTo>
                    <a:lnTo>
                      <a:pt x="1081" y="271"/>
                    </a:lnTo>
                    <a:lnTo>
                      <a:pt x="1075" y="264"/>
                    </a:lnTo>
                    <a:lnTo>
                      <a:pt x="1069" y="257"/>
                    </a:lnTo>
                    <a:lnTo>
                      <a:pt x="1061" y="252"/>
                    </a:lnTo>
                    <a:lnTo>
                      <a:pt x="1059" y="232"/>
                    </a:lnTo>
                    <a:lnTo>
                      <a:pt x="1069" y="227"/>
                    </a:lnTo>
                    <a:lnTo>
                      <a:pt x="1059" y="232"/>
                    </a:lnTo>
                    <a:lnTo>
                      <a:pt x="1046" y="232"/>
                    </a:lnTo>
                    <a:lnTo>
                      <a:pt x="1037" y="242"/>
                    </a:lnTo>
                    <a:lnTo>
                      <a:pt x="1029" y="247"/>
                    </a:lnTo>
                    <a:lnTo>
                      <a:pt x="1021" y="259"/>
                    </a:lnTo>
                    <a:lnTo>
                      <a:pt x="1002" y="272"/>
                    </a:lnTo>
                    <a:lnTo>
                      <a:pt x="989" y="284"/>
                    </a:lnTo>
                    <a:lnTo>
                      <a:pt x="981" y="286"/>
                    </a:lnTo>
                    <a:lnTo>
                      <a:pt x="969" y="286"/>
                    </a:lnTo>
                    <a:lnTo>
                      <a:pt x="959" y="284"/>
                    </a:lnTo>
                    <a:lnTo>
                      <a:pt x="949" y="284"/>
                    </a:lnTo>
                    <a:lnTo>
                      <a:pt x="937" y="286"/>
                    </a:lnTo>
                    <a:lnTo>
                      <a:pt x="924" y="286"/>
                    </a:lnTo>
                    <a:lnTo>
                      <a:pt x="915" y="284"/>
                    </a:lnTo>
                    <a:lnTo>
                      <a:pt x="892" y="284"/>
                    </a:lnTo>
                    <a:lnTo>
                      <a:pt x="882" y="284"/>
                    </a:lnTo>
                    <a:lnTo>
                      <a:pt x="875" y="280"/>
                    </a:lnTo>
                    <a:lnTo>
                      <a:pt x="862" y="274"/>
                    </a:lnTo>
                    <a:lnTo>
                      <a:pt x="855" y="272"/>
                    </a:lnTo>
                    <a:lnTo>
                      <a:pt x="855" y="259"/>
                    </a:lnTo>
                    <a:lnTo>
                      <a:pt x="846" y="259"/>
                    </a:lnTo>
                    <a:lnTo>
                      <a:pt x="837" y="264"/>
                    </a:lnTo>
                    <a:lnTo>
                      <a:pt x="827" y="264"/>
                    </a:lnTo>
                    <a:lnTo>
                      <a:pt x="809" y="264"/>
                    </a:lnTo>
                    <a:lnTo>
                      <a:pt x="802" y="259"/>
                    </a:lnTo>
                    <a:lnTo>
                      <a:pt x="794" y="252"/>
                    </a:lnTo>
                    <a:lnTo>
                      <a:pt x="787" y="247"/>
                    </a:lnTo>
                    <a:lnTo>
                      <a:pt x="779" y="247"/>
                    </a:lnTo>
                    <a:lnTo>
                      <a:pt x="767" y="259"/>
                    </a:lnTo>
                    <a:lnTo>
                      <a:pt x="755" y="259"/>
                    </a:lnTo>
                    <a:lnTo>
                      <a:pt x="742" y="257"/>
                    </a:lnTo>
                    <a:lnTo>
                      <a:pt x="735" y="257"/>
                    </a:lnTo>
                    <a:lnTo>
                      <a:pt x="726" y="247"/>
                    </a:lnTo>
                    <a:lnTo>
                      <a:pt x="722" y="242"/>
                    </a:lnTo>
                    <a:lnTo>
                      <a:pt x="710" y="234"/>
                    </a:lnTo>
                    <a:lnTo>
                      <a:pt x="684" y="229"/>
                    </a:lnTo>
                    <a:lnTo>
                      <a:pt x="659" y="232"/>
                    </a:lnTo>
                    <a:lnTo>
                      <a:pt x="650" y="234"/>
                    </a:lnTo>
                    <a:lnTo>
                      <a:pt x="640" y="239"/>
                    </a:lnTo>
                    <a:lnTo>
                      <a:pt x="615" y="239"/>
                    </a:lnTo>
                    <a:lnTo>
                      <a:pt x="610" y="232"/>
                    </a:lnTo>
                    <a:lnTo>
                      <a:pt x="597" y="234"/>
                    </a:lnTo>
                    <a:lnTo>
                      <a:pt x="580" y="234"/>
                    </a:lnTo>
                    <a:lnTo>
                      <a:pt x="572" y="232"/>
                    </a:lnTo>
                    <a:lnTo>
                      <a:pt x="559" y="232"/>
                    </a:lnTo>
                    <a:lnTo>
                      <a:pt x="550" y="229"/>
                    </a:lnTo>
                    <a:lnTo>
                      <a:pt x="535" y="229"/>
                    </a:lnTo>
                    <a:lnTo>
                      <a:pt x="530" y="224"/>
                    </a:lnTo>
                    <a:lnTo>
                      <a:pt x="522" y="224"/>
                    </a:lnTo>
                    <a:lnTo>
                      <a:pt x="499" y="222"/>
                    </a:lnTo>
                    <a:lnTo>
                      <a:pt x="494" y="219"/>
                    </a:lnTo>
                    <a:lnTo>
                      <a:pt x="480" y="215"/>
                    </a:lnTo>
                    <a:lnTo>
                      <a:pt x="473" y="215"/>
                    </a:lnTo>
                    <a:lnTo>
                      <a:pt x="452" y="204"/>
                    </a:lnTo>
                    <a:lnTo>
                      <a:pt x="442" y="199"/>
                    </a:lnTo>
                    <a:lnTo>
                      <a:pt x="432" y="193"/>
                    </a:lnTo>
                    <a:lnTo>
                      <a:pt x="428" y="184"/>
                    </a:lnTo>
                    <a:lnTo>
                      <a:pt x="422" y="172"/>
                    </a:lnTo>
                    <a:lnTo>
                      <a:pt x="412" y="172"/>
                    </a:lnTo>
                    <a:lnTo>
                      <a:pt x="407" y="165"/>
                    </a:lnTo>
                    <a:lnTo>
                      <a:pt x="387" y="155"/>
                    </a:lnTo>
                    <a:lnTo>
                      <a:pt x="377" y="147"/>
                    </a:lnTo>
                    <a:lnTo>
                      <a:pt x="365" y="144"/>
                    </a:lnTo>
                    <a:lnTo>
                      <a:pt x="355" y="139"/>
                    </a:lnTo>
                    <a:lnTo>
                      <a:pt x="350" y="139"/>
                    </a:lnTo>
                    <a:lnTo>
                      <a:pt x="340" y="132"/>
                    </a:lnTo>
                    <a:lnTo>
                      <a:pt x="332" y="132"/>
                    </a:lnTo>
                    <a:lnTo>
                      <a:pt x="322" y="139"/>
                    </a:lnTo>
                    <a:lnTo>
                      <a:pt x="315" y="139"/>
                    </a:lnTo>
                    <a:lnTo>
                      <a:pt x="305" y="132"/>
                    </a:lnTo>
                    <a:lnTo>
                      <a:pt x="302" y="124"/>
                    </a:lnTo>
                    <a:lnTo>
                      <a:pt x="279" y="113"/>
                    </a:lnTo>
                    <a:lnTo>
                      <a:pt x="272" y="108"/>
                    </a:lnTo>
                    <a:lnTo>
                      <a:pt x="262" y="105"/>
                    </a:lnTo>
                    <a:lnTo>
                      <a:pt x="257" y="108"/>
                    </a:lnTo>
                    <a:lnTo>
                      <a:pt x="247" y="105"/>
                    </a:lnTo>
                    <a:lnTo>
                      <a:pt x="115" y="15"/>
                    </a:lnTo>
                    <a:lnTo>
                      <a:pt x="105" y="15"/>
                    </a:lnTo>
                    <a:lnTo>
                      <a:pt x="93" y="15"/>
                    </a:lnTo>
                    <a:lnTo>
                      <a:pt x="90" y="6"/>
                    </a:lnTo>
                    <a:lnTo>
                      <a:pt x="79" y="5"/>
                    </a:lnTo>
                    <a:lnTo>
                      <a:pt x="63" y="1"/>
                    </a:lnTo>
                    <a:lnTo>
                      <a:pt x="41" y="5"/>
                    </a:lnTo>
                    <a:lnTo>
                      <a:pt x="21" y="0"/>
                    </a:lnTo>
                    <a:lnTo>
                      <a:pt x="26" y="10"/>
                    </a:lnTo>
                    <a:lnTo>
                      <a:pt x="28" y="25"/>
                    </a:lnTo>
                    <a:lnTo>
                      <a:pt x="43" y="35"/>
                    </a:lnTo>
                    <a:lnTo>
                      <a:pt x="53" y="48"/>
                    </a:lnTo>
                    <a:lnTo>
                      <a:pt x="63" y="59"/>
                    </a:lnTo>
                    <a:lnTo>
                      <a:pt x="65" y="68"/>
                    </a:lnTo>
                    <a:lnTo>
                      <a:pt x="59" y="79"/>
                    </a:lnTo>
                    <a:lnTo>
                      <a:pt x="52" y="82"/>
                    </a:lnTo>
                    <a:lnTo>
                      <a:pt x="53" y="97"/>
                    </a:lnTo>
                    <a:lnTo>
                      <a:pt x="57" y="108"/>
                    </a:lnTo>
                    <a:lnTo>
                      <a:pt x="55" y="117"/>
                    </a:lnTo>
                    <a:lnTo>
                      <a:pt x="52" y="125"/>
                    </a:lnTo>
                    <a:lnTo>
                      <a:pt x="45" y="132"/>
                    </a:lnTo>
                    <a:lnTo>
                      <a:pt x="41" y="139"/>
                    </a:lnTo>
                    <a:lnTo>
                      <a:pt x="46" y="155"/>
                    </a:lnTo>
                    <a:lnTo>
                      <a:pt x="45" y="165"/>
                    </a:lnTo>
                    <a:lnTo>
                      <a:pt x="43" y="173"/>
                    </a:lnTo>
                    <a:lnTo>
                      <a:pt x="37" y="185"/>
                    </a:lnTo>
                    <a:lnTo>
                      <a:pt x="28" y="189"/>
                    </a:lnTo>
                    <a:lnTo>
                      <a:pt x="19" y="199"/>
                    </a:lnTo>
                    <a:lnTo>
                      <a:pt x="0" y="193"/>
                    </a:lnTo>
                    <a:lnTo>
                      <a:pt x="6" y="212"/>
                    </a:lnTo>
                    <a:lnTo>
                      <a:pt x="25" y="219"/>
                    </a:lnTo>
                    <a:lnTo>
                      <a:pt x="28" y="227"/>
                    </a:lnTo>
                    <a:lnTo>
                      <a:pt x="28" y="239"/>
                    </a:lnTo>
                    <a:lnTo>
                      <a:pt x="35" y="247"/>
                    </a:lnTo>
                    <a:lnTo>
                      <a:pt x="41" y="257"/>
                    </a:lnTo>
                    <a:lnTo>
                      <a:pt x="45" y="264"/>
                    </a:lnTo>
                    <a:lnTo>
                      <a:pt x="41" y="272"/>
                    </a:lnTo>
                    <a:lnTo>
                      <a:pt x="35" y="286"/>
                    </a:lnTo>
                    <a:lnTo>
                      <a:pt x="37" y="296"/>
                    </a:lnTo>
                    <a:lnTo>
                      <a:pt x="41" y="304"/>
                    </a:lnTo>
                    <a:lnTo>
                      <a:pt x="43" y="312"/>
                    </a:lnTo>
                    <a:lnTo>
                      <a:pt x="28" y="326"/>
                    </a:lnTo>
                    <a:lnTo>
                      <a:pt x="35" y="336"/>
                    </a:lnTo>
                    <a:lnTo>
                      <a:pt x="28" y="344"/>
                    </a:lnTo>
                    <a:lnTo>
                      <a:pt x="30" y="352"/>
                    </a:lnTo>
                    <a:lnTo>
                      <a:pt x="35" y="366"/>
                    </a:lnTo>
                    <a:lnTo>
                      <a:pt x="46" y="376"/>
                    </a:lnTo>
                    <a:lnTo>
                      <a:pt x="41" y="381"/>
                    </a:lnTo>
                    <a:lnTo>
                      <a:pt x="46" y="398"/>
                    </a:lnTo>
                    <a:lnTo>
                      <a:pt x="57" y="401"/>
                    </a:lnTo>
                    <a:lnTo>
                      <a:pt x="63" y="411"/>
                    </a:lnTo>
                    <a:lnTo>
                      <a:pt x="65" y="421"/>
                    </a:lnTo>
                    <a:lnTo>
                      <a:pt x="65" y="429"/>
                    </a:lnTo>
                    <a:lnTo>
                      <a:pt x="59" y="441"/>
                    </a:lnTo>
                    <a:lnTo>
                      <a:pt x="68" y="451"/>
                    </a:lnTo>
                    <a:lnTo>
                      <a:pt x="68" y="461"/>
                    </a:lnTo>
                    <a:lnTo>
                      <a:pt x="315" y="476"/>
                    </a:lnTo>
                    <a:lnTo>
                      <a:pt x="821" y="499"/>
                    </a:lnTo>
                    <a:lnTo>
                      <a:pt x="827" y="499"/>
                    </a:lnTo>
                    <a:lnTo>
                      <a:pt x="1021" y="508"/>
                    </a:lnTo>
                    <a:lnTo>
                      <a:pt x="1037" y="508"/>
                    </a:lnTo>
                    <a:lnTo>
                      <a:pt x="1168" y="513"/>
                    </a:lnTo>
                    <a:lnTo>
                      <a:pt x="1169" y="425"/>
                    </a:lnTo>
                    <a:lnTo>
                      <a:pt x="1174" y="334"/>
                    </a:lnTo>
                    <a:lnTo>
                      <a:pt x="1188" y="334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69" name="Freeform 10"/>
              <p:cNvSpPr>
                <a:spLocks/>
              </p:cNvSpPr>
              <p:nvPr/>
            </p:nvSpPr>
            <p:spPr bwMode="auto">
              <a:xfrm>
                <a:off x="2826029" y="4581099"/>
                <a:ext cx="323991" cy="417862"/>
              </a:xfrm>
              <a:custGeom>
                <a:avLst/>
                <a:gdLst/>
                <a:ahLst/>
                <a:cxnLst>
                  <a:cxn ang="0">
                    <a:pos x="0" y="216"/>
                  </a:cxn>
                  <a:cxn ang="0">
                    <a:pos x="6" y="183"/>
                  </a:cxn>
                  <a:cxn ang="0">
                    <a:pos x="17" y="169"/>
                  </a:cxn>
                  <a:cxn ang="0">
                    <a:pos x="35" y="159"/>
                  </a:cxn>
                  <a:cxn ang="0">
                    <a:pos x="45" y="154"/>
                  </a:cxn>
                  <a:cxn ang="0">
                    <a:pos x="32" y="134"/>
                  </a:cxn>
                  <a:cxn ang="0">
                    <a:pos x="38" y="119"/>
                  </a:cxn>
                  <a:cxn ang="0">
                    <a:pos x="63" y="105"/>
                  </a:cxn>
                  <a:cxn ang="0">
                    <a:pos x="90" y="102"/>
                  </a:cxn>
                  <a:cxn ang="0">
                    <a:pos x="100" y="102"/>
                  </a:cxn>
                  <a:cxn ang="0">
                    <a:pos x="120" y="102"/>
                  </a:cxn>
                  <a:cxn ang="0">
                    <a:pos x="140" y="88"/>
                  </a:cxn>
                  <a:cxn ang="0">
                    <a:pos x="160" y="87"/>
                  </a:cxn>
                  <a:cxn ang="0">
                    <a:pos x="171" y="75"/>
                  </a:cxn>
                  <a:cxn ang="0">
                    <a:pos x="182" y="61"/>
                  </a:cxn>
                  <a:cxn ang="0">
                    <a:pos x="200" y="65"/>
                  </a:cxn>
                  <a:cxn ang="0">
                    <a:pos x="236" y="61"/>
                  </a:cxn>
                  <a:cxn ang="0">
                    <a:pos x="251" y="67"/>
                  </a:cxn>
                  <a:cxn ang="0">
                    <a:pos x="271" y="75"/>
                  </a:cxn>
                  <a:cxn ang="0">
                    <a:pos x="288" y="81"/>
                  </a:cxn>
                  <a:cxn ang="0">
                    <a:pos x="315" y="81"/>
                  </a:cxn>
                  <a:cxn ang="0">
                    <a:pos x="321" y="61"/>
                  </a:cxn>
                  <a:cxn ang="0">
                    <a:pos x="320" y="43"/>
                  </a:cxn>
                  <a:cxn ang="0">
                    <a:pos x="328" y="26"/>
                  </a:cxn>
                  <a:cxn ang="0">
                    <a:pos x="341" y="6"/>
                  </a:cxn>
                  <a:cxn ang="0">
                    <a:pos x="356" y="0"/>
                  </a:cxn>
                  <a:cxn ang="0">
                    <a:pos x="375" y="0"/>
                  </a:cxn>
                  <a:cxn ang="0">
                    <a:pos x="365" y="354"/>
                  </a:cxn>
                  <a:cxn ang="0">
                    <a:pos x="348" y="463"/>
                  </a:cxn>
                  <a:cxn ang="0">
                    <a:pos x="308" y="456"/>
                  </a:cxn>
                  <a:cxn ang="0">
                    <a:pos x="276" y="433"/>
                  </a:cxn>
                  <a:cxn ang="0">
                    <a:pos x="253" y="438"/>
                  </a:cxn>
                  <a:cxn ang="0">
                    <a:pos x="223" y="438"/>
                  </a:cxn>
                  <a:cxn ang="0">
                    <a:pos x="160" y="411"/>
                  </a:cxn>
                  <a:cxn ang="0">
                    <a:pos x="97" y="398"/>
                  </a:cxn>
                  <a:cxn ang="0">
                    <a:pos x="63" y="384"/>
                  </a:cxn>
                  <a:cxn ang="0">
                    <a:pos x="32" y="364"/>
                  </a:cxn>
                  <a:cxn ang="0">
                    <a:pos x="8" y="331"/>
                  </a:cxn>
                  <a:cxn ang="0">
                    <a:pos x="17" y="289"/>
                  </a:cxn>
                  <a:cxn ang="0">
                    <a:pos x="18" y="259"/>
                  </a:cxn>
                  <a:cxn ang="0">
                    <a:pos x="13" y="242"/>
                  </a:cxn>
                </a:cxnLst>
                <a:rect l="0" t="0" r="r" b="b"/>
                <a:pathLst>
                  <a:path w="376" h="464">
                    <a:moveTo>
                      <a:pt x="13" y="242"/>
                    </a:moveTo>
                    <a:lnTo>
                      <a:pt x="0" y="216"/>
                    </a:lnTo>
                    <a:lnTo>
                      <a:pt x="0" y="199"/>
                    </a:lnTo>
                    <a:lnTo>
                      <a:pt x="6" y="183"/>
                    </a:lnTo>
                    <a:lnTo>
                      <a:pt x="8" y="177"/>
                    </a:lnTo>
                    <a:lnTo>
                      <a:pt x="17" y="169"/>
                    </a:lnTo>
                    <a:lnTo>
                      <a:pt x="30" y="167"/>
                    </a:lnTo>
                    <a:lnTo>
                      <a:pt x="35" y="159"/>
                    </a:lnTo>
                    <a:lnTo>
                      <a:pt x="45" y="163"/>
                    </a:lnTo>
                    <a:lnTo>
                      <a:pt x="45" y="154"/>
                    </a:lnTo>
                    <a:lnTo>
                      <a:pt x="43" y="143"/>
                    </a:lnTo>
                    <a:lnTo>
                      <a:pt x="32" y="134"/>
                    </a:lnTo>
                    <a:lnTo>
                      <a:pt x="38" y="130"/>
                    </a:lnTo>
                    <a:lnTo>
                      <a:pt x="38" y="119"/>
                    </a:lnTo>
                    <a:lnTo>
                      <a:pt x="52" y="110"/>
                    </a:lnTo>
                    <a:lnTo>
                      <a:pt x="63" y="105"/>
                    </a:lnTo>
                    <a:lnTo>
                      <a:pt x="70" y="95"/>
                    </a:lnTo>
                    <a:lnTo>
                      <a:pt x="90" y="102"/>
                    </a:lnTo>
                    <a:lnTo>
                      <a:pt x="95" y="107"/>
                    </a:lnTo>
                    <a:lnTo>
                      <a:pt x="100" y="102"/>
                    </a:lnTo>
                    <a:lnTo>
                      <a:pt x="110" y="102"/>
                    </a:lnTo>
                    <a:lnTo>
                      <a:pt x="120" y="102"/>
                    </a:lnTo>
                    <a:lnTo>
                      <a:pt x="131" y="95"/>
                    </a:lnTo>
                    <a:lnTo>
                      <a:pt x="140" y="88"/>
                    </a:lnTo>
                    <a:lnTo>
                      <a:pt x="148" y="87"/>
                    </a:lnTo>
                    <a:lnTo>
                      <a:pt x="160" y="87"/>
                    </a:lnTo>
                    <a:lnTo>
                      <a:pt x="162" y="81"/>
                    </a:lnTo>
                    <a:lnTo>
                      <a:pt x="171" y="75"/>
                    </a:lnTo>
                    <a:lnTo>
                      <a:pt x="178" y="68"/>
                    </a:lnTo>
                    <a:lnTo>
                      <a:pt x="182" y="61"/>
                    </a:lnTo>
                    <a:lnTo>
                      <a:pt x="190" y="61"/>
                    </a:lnTo>
                    <a:lnTo>
                      <a:pt x="200" y="65"/>
                    </a:lnTo>
                    <a:lnTo>
                      <a:pt x="218" y="59"/>
                    </a:lnTo>
                    <a:lnTo>
                      <a:pt x="236" y="61"/>
                    </a:lnTo>
                    <a:lnTo>
                      <a:pt x="243" y="68"/>
                    </a:lnTo>
                    <a:lnTo>
                      <a:pt x="251" y="67"/>
                    </a:lnTo>
                    <a:lnTo>
                      <a:pt x="263" y="72"/>
                    </a:lnTo>
                    <a:lnTo>
                      <a:pt x="271" y="75"/>
                    </a:lnTo>
                    <a:lnTo>
                      <a:pt x="280" y="79"/>
                    </a:lnTo>
                    <a:lnTo>
                      <a:pt x="288" y="81"/>
                    </a:lnTo>
                    <a:lnTo>
                      <a:pt x="302" y="87"/>
                    </a:lnTo>
                    <a:lnTo>
                      <a:pt x="315" y="81"/>
                    </a:lnTo>
                    <a:lnTo>
                      <a:pt x="320" y="68"/>
                    </a:lnTo>
                    <a:lnTo>
                      <a:pt x="321" y="61"/>
                    </a:lnTo>
                    <a:lnTo>
                      <a:pt x="321" y="52"/>
                    </a:lnTo>
                    <a:lnTo>
                      <a:pt x="320" y="43"/>
                    </a:lnTo>
                    <a:lnTo>
                      <a:pt x="327" y="39"/>
                    </a:lnTo>
                    <a:lnTo>
                      <a:pt x="328" y="26"/>
                    </a:lnTo>
                    <a:lnTo>
                      <a:pt x="340" y="17"/>
                    </a:lnTo>
                    <a:lnTo>
                      <a:pt x="341" y="6"/>
                    </a:lnTo>
                    <a:lnTo>
                      <a:pt x="348" y="3"/>
                    </a:lnTo>
                    <a:lnTo>
                      <a:pt x="356" y="0"/>
                    </a:lnTo>
                    <a:lnTo>
                      <a:pt x="370" y="0"/>
                    </a:lnTo>
                    <a:lnTo>
                      <a:pt x="375" y="0"/>
                    </a:lnTo>
                    <a:lnTo>
                      <a:pt x="368" y="216"/>
                    </a:lnTo>
                    <a:lnTo>
                      <a:pt x="365" y="354"/>
                    </a:lnTo>
                    <a:lnTo>
                      <a:pt x="363" y="456"/>
                    </a:lnTo>
                    <a:lnTo>
                      <a:pt x="348" y="463"/>
                    </a:lnTo>
                    <a:lnTo>
                      <a:pt x="330" y="463"/>
                    </a:lnTo>
                    <a:lnTo>
                      <a:pt x="308" y="456"/>
                    </a:lnTo>
                    <a:lnTo>
                      <a:pt x="293" y="436"/>
                    </a:lnTo>
                    <a:lnTo>
                      <a:pt x="276" y="433"/>
                    </a:lnTo>
                    <a:lnTo>
                      <a:pt x="267" y="433"/>
                    </a:lnTo>
                    <a:lnTo>
                      <a:pt x="253" y="438"/>
                    </a:lnTo>
                    <a:lnTo>
                      <a:pt x="235" y="441"/>
                    </a:lnTo>
                    <a:lnTo>
                      <a:pt x="223" y="438"/>
                    </a:lnTo>
                    <a:lnTo>
                      <a:pt x="211" y="428"/>
                    </a:lnTo>
                    <a:lnTo>
                      <a:pt x="160" y="411"/>
                    </a:lnTo>
                    <a:lnTo>
                      <a:pt x="120" y="398"/>
                    </a:lnTo>
                    <a:lnTo>
                      <a:pt x="97" y="398"/>
                    </a:lnTo>
                    <a:lnTo>
                      <a:pt x="75" y="389"/>
                    </a:lnTo>
                    <a:lnTo>
                      <a:pt x="63" y="384"/>
                    </a:lnTo>
                    <a:lnTo>
                      <a:pt x="48" y="373"/>
                    </a:lnTo>
                    <a:lnTo>
                      <a:pt x="32" y="364"/>
                    </a:lnTo>
                    <a:lnTo>
                      <a:pt x="17" y="354"/>
                    </a:lnTo>
                    <a:lnTo>
                      <a:pt x="8" y="331"/>
                    </a:lnTo>
                    <a:lnTo>
                      <a:pt x="12" y="314"/>
                    </a:lnTo>
                    <a:lnTo>
                      <a:pt x="17" y="289"/>
                    </a:lnTo>
                    <a:lnTo>
                      <a:pt x="18" y="267"/>
                    </a:lnTo>
                    <a:lnTo>
                      <a:pt x="18" y="259"/>
                    </a:lnTo>
                    <a:lnTo>
                      <a:pt x="15" y="249"/>
                    </a:lnTo>
                    <a:lnTo>
                      <a:pt x="13" y="242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0" name="Freeform 11"/>
              <p:cNvSpPr>
                <a:spLocks/>
              </p:cNvSpPr>
              <p:nvPr/>
            </p:nvSpPr>
            <p:spPr bwMode="auto">
              <a:xfrm>
                <a:off x="5471383" y="4105601"/>
                <a:ext cx="389479" cy="506117"/>
              </a:xfrm>
              <a:custGeom>
                <a:avLst/>
                <a:gdLst/>
                <a:ahLst/>
                <a:cxnLst>
                  <a:cxn ang="0">
                    <a:pos x="12" y="37"/>
                  </a:cxn>
                  <a:cxn ang="0">
                    <a:pos x="15" y="37"/>
                  </a:cxn>
                  <a:cxn ang="0">
                    <a:pos x="25" y="45"/>
                  </a:cxn>
                  <a:cxn ang="0">
                    <a:pos x="37" y="57"/>
                  </a:cxn>
                  <a:cxn ang="0">
                    <a:pos x="45" y="66"/>
                  </a:cxn>
                  <a:cxn ang="0">
                    <a:pos x="53" y="68"/>
                  </a:cxn>
                  <a:cxn ang="0">
                    <a:pos x="65" y="66"/>
                  </a:cxn>
                  <a:cxn ang="0">
                    <a:pos x="80" y="66"/>
                  </a:cxn>
                  <a:cxn ang="0">
                    <a:pos x="90" y="63"/>
                  </a:cxn>
                  <a:cxn ang="0">
                    <a:pos x="95" y="53"/>
                  </a:cxn>
                  <a:cxn ang="0">
                    <a:pos x="100" y="48"/>
                  </a:cxn>
                  <a:cxn ang="0">
                    <a:pos x="115" y="48"/>
                  </a:cxn>
                  <a:cxn ang="0">
                    <a:pos x="124" y="45"/>
                  </a:cxn>
                  <a:cxn ang="0">
                    <a:pos x="138" y="37"/>
                  </a:cxn>
                  <a:cxn ang="0">
                    <a:pos x="148" y="33"/>
                  </a:cxn>
                  <a:cxn ang="0">
                    <a:pos x="162" y="33"/>
                  </a:cxn>
                  <a:cxn ang="0">
                    <a:pos x="171" y="37"/>
                  </a:cxn>
                  <a:cxn ang="0">
                    <a:pos x="191" y="28"/>
                  </a:cxn>
                  <a:cxn ang="0">
                    <a:pos x="220" y="33"/>
                  </a:cxn>
                  <a:cxn ang="0">
                    <a:pos x="229" y="33"/>
                  </a:cxn>
                  <a:cxn ang="0">
                    <a:pos x="236" y="33"/>
                  </a:cxn>
                  <a:cxn ang="0">
                    <a:pos x="241" y="21"/>
                  </a:cxn>
                  <a:cxn ang="0">
                    <a:pos x="241" y="10"/>
                  </a:cxn>
                  <a:cxn ang="0">
                    <a:pos x="248" y="1"/>
                  </a:cxn>
                  <a:cxn ang="0">
                    <a:pos x="253" y="0"/>
                  </a:cxn>
                  <a:cxn ang="0">
                    <a:pos x="258" y="0"/>
                  </a:cxn>
                  <a:cxn ang="0">
                    <a:pos x="260" y="57"/>
                  </a:cxn>
                  <a:cxn ang="0">
                    <a:pos x="256" y="138"/>
                  </a:cxn>
                  <a:cxn ang="0">
                    <a:pos x="339" y="131"/>
                  </a:cxn>
                  <a:cxn ang="0">
                    <a:pos x="341" y="158"/>
                  </a:cxn>
                  <a:cxn ang="0">
                    <a:pos x="354" y="158"/>
                  </a:cxn>
                  <a:cxn ang="0">
                    <a:pos x="356" y="197"/>
                  </a:cxn>
                  <a:cxn ang="0">
                    <a:pos x="371" y="197"/>
                  </a:cxn>
                  <a:cxn ang="0">
                    <a:pos x="371" y="210"/>
                  </a:cxn>
                  <a:cxn ang="0">
                    <a:pos x="386" y="210"/>
                  </a:cxn>
                  <a:cxn ang="0">
                    <a:pos x="386" y="250"/>
                  </a:cxn>
                  <a:cxn ang="0">
                    <a:pos x="428" y="248"/>
                  </a:cxn>
                  <a:cxn ang="0">
                    <a:pos x="432" y="288"/>
                  </a:cxn>
                  <a:cxn ang="0">
                    <a:pos x="451" y="554"/>
                  </a:cxn>
                  <a:cxn ang="0">
                    <a:pos x="195" y="561"/>
                  </a:cxn>
                  <a:cxn ang="0">
                    <a:pos x="183" y="561"/>
                  </a:cxn>
                  <a:cxn ang="0">
                    <a:pos x="180" y="375"/>
                  </a:cxn>
                  <a:cxn ang="0">
                    <a:pos x="95" y="376"/>
                  </a:cxn>
                  <a:cxn ang="0">
                    <a:pos x="93" y="316"/>
                  </a:cxn>
                  <a:cxn ang="0">
                    <a:pos x="93" y="301"/>
                  </a:cxn>
                  <a:cxn ang="0">
                    <a:pos x="46" y="301"/>
                  </a:cxn>
                  <a:cxn ang="0">
                    <a:pos x="8" y="303"/>
                  </a:cxn>
                  <a:cxn ang="0">
                    <a:pos x="0" y="63"/>
                  </a:cxn>
                  <a:cxn ang="0">
                    <a:pos x="8" y="63"/>
                  </a:cxn>
                  <a:cxn ang="0">
                    <a:pos x="8" y="33"/>
                  </a:cxn>
                  <a:cxn ang="0">
                    <a:pos x="12" y="37"/>
                  </a:cxn>
                </a:cxnLst>
                <a:rect l="0" t="0" r="r" b="b"/>
                <a:pathLst>
                  <a:path w="452" h="562">
                    <a:moveTo>
                      <a:pt x="12" y="37"/>
                    </a:moveTo>
                    <a:lnTo>
                      <a:pt x="15" y="37"/>
                    </a:lnTo>
                    <a:lnTo>
                      <a:pt x="25" y="45"/>
                    </a:lnTo>
                    <a:lnTo>
                      <a:pt x="37" y="57"/>
                    </a:lnTo>
                    <a:lnTo>
                      <a:pt x="45" y="66"/>
                    </a:lnTo>
                    <a:lnTo>
                      <a:pt x="53" y="68"/>
                    </a:lnTo>
                    <a:lnTo>
                      <a:pt x="65" y="66"/>
                    </a:lnTo>
                    <a:lnTo>
                      <a:pt x="80" y="66"/>
                    </a:lnTo>
                    <a:lnTo>
                      <a:pt x="90" y="63"/>
                    </a:lnTo>
                    <a:lnTo>
                      <a:pt x="95" y="53"/>
                    </a:lnTo>
                    <a:lnTo>
                      <a:pt x="100" y="48"/>
                    </a:lnTo>
                    <a:lnTo>
                      <a:pt x="115" y="48"/>
                    </a:lnTo>
                    <a:lnTo>
                      <a:pt x="124" y="45"/>
                    </a:lnTo>
                    <a:lnTo>
                      <a:pt x="138" y="37"/>
                    </a:lnTo>
                    <a:lnTo>
                      <a:pt x="148" y="33"/>
                    </a:lnTo>
                    <a:lnTo>
                      <a:pt x="162" y="33"/>
                    </a:lnTo>
                    <a:lnTo>
                      <a:pt x="171" y="37"/>
                    </a:lnTo>
                    <a:lnTo>
                      <a:pt x="191" y="28"/>
                    </a:lnTo>
                    <a:lnTo>
                      <a:pt x="220" y="33"/>
                    </a:lnTo>
                    <a:lnTo>
                      <a:pt x="229" y="33"/>
                    </a:lnTo>
                    <a:lnTo>
                      <a:pt x="236" y="33"/>
                    </a:lnTo>
                    <a:lnTo>
                      <a:pt x="241" y="21"/>
                    </a:lnTo>
                    <a:lnTo>
                      <a:pt x="241" y="10"/>
                    </a:lnTo>
                    <a:lnTo>
                      <a:pt x="248" y="1"/>
                    </a:lnTo>
                    <a:lnTo>
                      <a:pt x="253" y="0"/>
                    </a:lnTo>
                    <a:lnTo>
                      <a:pt x="258" y="0"/>
                    </a:lnTo>
                    <a:lnTo>
                      <a:pt x="260" y="57"/>
                    </a:lnTo>
                    <a:lnTo>
                      <a:pt x="256" y="138"/>
                    </a:lnTo>
                    <a:lnTo>
                      <a:pt x="339" y="131"/>
                    </a:lnTo>
                    <a:lnTo>
                      <a:pt x="341" y="158"/>
                    </a:lnTo>
                    <a:lnTo>
                      <a:pt x="354" y="158"/>
                    </a:lnTo>
                    <a:lnTo>
                      <a:pt x="356" y="197"/>
                    </a:lnTo>
                    <a:lnTo>
                      <a:pt x="371" y="197"/>
                    </a:lnTo>
                    <a:lnTo>
                      <a:pt x="371" y="210"/>
                    </a:lnTo>
                    <a:lnTo>
                      <a:pt x="386" y="210"/>
                    </a:lnTo>
                    <a:lnTo>
                      <a:pt x="386" y="250"/>
                    </a:lnTo>
                    <a:lnTo>
                      <a:pt x="428" y="248"/>
                    </a:lnTo>
                    <a:lnTo>
                      <a:pt x="432" y="288"/>
                    </a:lnTo>
                    <a:lnTo>
                      <a:pt x="451" y="554"/>
                    </a:lnTo>
                    <a:lnTo>
                      <a:pt x="195" y="561"/>
                    </a:lnTo>
                    <a:lnTo>
                      <a:pt x="183" y="561"/>
                    </a:lnTo>
                    <a:lnTo>
                      <a:pt x="180" y="375"/>
                    </a:lnTo>
                    <a:lnTo>
                      <a:pt x="95" y="376"/>
                    </a:lnTo>
                    <a:lnTo>
                      <a:pt x="93" y="316"/>
                    </a:lnTo>
                    <a:lnTo>
                      <a:pt x="93" y="301"/>
                    </a:lnTo>
                    <a:lnTo>
                      <a:pt x="46" y="301"/>
                    </a:lnTo>
                    <a:lnTo>
                      <a:pt x="8" y="303"/>
                    </a:lnTo>
                    <a:lnTo>
                      <a:pt x="0" y="63"/>
                    </a:lnTo>
                    <a:lnTo>
                      <a:pt x="8" y="63"/>
                    </a:lnTo>
                    <a:lnTo>
                      <a:pt x="8" y="33"/>
                    </a:lnTo>
                    <a:lnTo>
                      <a:pt x="12" y="37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1" name="Freeform 12"/>
              <p:cNvSpPr>
                <a:spLocks/>
              </p:cNvSpPr>
              <p:nvPr/>
            </p:nvSpPr>
            <p:spPr bwMode="auto">
              <a:xfrm>
                <a:off x="2587344" y="4304625"/>
                <a:ext cx="572155" cy="443979"/>
              </a:xfrm>
              <a:custGeom>
                <a:avLst/>
                <a:gdLst/>
                <a:ahLst/>
                <a:cxnLst>
                  <a:cxn ang="0">
                    <a:pos x="121" y="223"/>
                  </a:cxn>
                  <a:cxn ang="0">
                    <a:pos x="137" y="228"/>
                  </a:cxn>
                  <a:cxn ang="0">
                    <a:pos x="207" y="280"/>
                  </a:cxn>
                  <a:cxn ang="0">
                    <a:pos x="223" y="323"/>
                  </a:cxn>
                  <a:cxn ang="0">
                    <a:pos x="237" y="342"/>
                  </a:cxn>
                  <a:cxn ang="0">
                    <a:pos x="265" y="390"/>
                  </a:cxn>
                  <a:cxn ang="0">
                    <a:pos x="270" y="412"/>
                  </a:cxn>
                  <a:cxn ang="0">
                    <a:pos x="274" y="458"/>
                  </a:cxn>
                  <a:cxn ang="0">
                    <a:pos x="285" y="492"/>
                  </a:cxn>
                  <a:cxn ang="0">
                    <a:pos x="307" y="478"/>
                  </a:cxn>
                  <a:cxn ang="0">
                    <a:pos x="319" y="475"/>
                  </a:cxn>
                  <a:cxn ang="0">
                    <a:pos x="317" y="455"/>
                  </a:cxn>
                  <a:cxn ang="0">
                    <a:pos x="316" y="444"/>
                  </a:cxn>
                  <a:cxn ang="0">
                    <a:pos x="329" y="422"/>
                  </a:cxn>
                  <a:cxn ang="0">
                    <a:pos x="345" y="409"/>
                  </a:cxn>
                  <a:cxn ang="0">
                    <a:pos x="372" y="420"/>
                  </a:cxn>
                  <a:cxn ang="0">
                    <a:pos x="385" y="412"/>
                  </a:cxn>
                  <a:cxn ang="0">
                    <a:pos x="409" y="409"/>
                  </a:cxn>
                  <a:cxn ang="0">
                    <a:pos x="426" y="400"/>
                  </a:cxn>
                  <a:cxn ang="0">
                    <a:pos x="439" y="392"/>
                  </a:cxn>
                  <a:cxn ang="0">
                    <a:pos x="456" y="382"/>
                  </a:cxn>
                  <a:cxn ang="0">
                    <a:pos x="466" y="375"/>
                  </a:cxn>
                  <a:cxn ang="0">
                    <a:pos x="494" y="370"/>
                  </a:cxn>
                  <a:cxn ang="0">
                    <a:pos x="520" y="382"/>
                  </a:cxn>
                  <a:cxn ang="0">
                    <a:pos x="540" y="385"/>
                  </a:cxn>
                  <a:cxn ang="0">
                    <a:pos x="556" y="390"/>
                  </a:cxn>
                  <a:cxn ang="0">
                    <a:pos x="578" y="400"/>
                  </a:cxn>
                  <a:cxn ang="0">
                    <a:pos x="598" y="382"/>
                  </a:cxn>
                  <a:cxn ang="0">
                    <a:pos x="601" y="365"/>
                  </a:cxn>
                  <a:cxn ang="0">
                    <a:pos x="604" y="350"/>
                  </a:cxn>
                  <a:cxn ang="0">
                    <a:pos x="616" y="330"/>
                  </a:cxn>
                  <a:cxn ang="0">
                    <a:pos x="629" y="315"/>
                  </a:cxn>
                  <a:cxn ang="0">
                    <a:pos x="649" y="312"/>
                  </a:cxn>
                  <a:cxn ang="0">
                    <a:pos x="655" y="232"/>
                  </a:cxn>
                  <a:cxn ang="0">
                    <a:pos x="357" y="8"/>
                  </a:cxn>
                  <a:cxn ang="0">
                    <a:pos x="65" y="3"/>
                  </a:cxn>
                  <a:cxn ang="0">
                    <a:pos x="0" y="198"/>
                  </a:cxn>
                  <a:cxn ang="0">
                    <a:pos x="30" y="180"/>
                  </a:cxn>
                  <a:cxn ang="0">
                    <a:pos x="67" y="185"/>
                  </a:cxn>
                  <a:cxn ang="0">
                    <a:pos x="97" y="208"/>
                  </a:cxn>
                  <a:cxn ang="0">
                    <a:pos x="121" y="220"/>
                  </a:cxn>
                </a:cxnLst>
                <a:rect l="0" t="0" r="r" b="b"/>
                <a:pathLst>
                  <a:path w="664" h="493">
                    <a:moveTo>
                      <a:pt x="121" y="220"/>
                    </a:moveTo>
                    <a:lnTo>
                      <a:pt x="121" y="223"/>
                    </a:lnTo>
                    <a:lnTo>
                      <a:pt x="128" y="225"/>
                    </a:lnTo>
                    <a:lnTo>
                      <a:pt x="137" y="228"/>
                    </a:lnTo>
                    <a:lnTo>
                      <a:pt x="168" y="258"/>
                    </a:lnTo>
                    <a:lnTo>
                      <a:pt x="207" y="280"/>
                    </a:lnTo>
                    <a:lnTo>
                      <a:pt x="217" y="298"/>
                    </a:lnTo>
                    <a:lnTo>
                      <a:pt x="223" y="323"/>
                    </a:lnTo>
                    <a:lnTo>
                      <a:pt x="229" y="332"/>
                    </a:lnTo>
                    <a:lnTo>
                      <a:pt x="237" y="342"/>
                    </a:lnTo>
                    <a:lnTo>
                      <a:pt x="249" y="370"/>
                    </a:lnTo>
                    <a:lnTo>
                      <a:pt x="265" y="390"/>
                    </a:lnTo>
                    <a:lnTo>
                      <a:pt x="265" y="397"/>
                    </a:lnTo>
                    <a:lnTo>
                      <a:pt x="270" y="412"/>
                    </a:lnTo>
                    <a:lnTo>
                      <a:pt x="265" y="435"/>
                    </a:lnTo>
                    <a:lnTo>
                      <a:pt x="274" y="458"/>
                    </a:lnTo>
                    <a:lnTo>
                      <a:pt x="284" y="475"/>
                    </a:lnTo>
                    <a:lnTo>
                      <a:pt x="285" y="492"/>
                    </a:lnTo>
                    <a:lnTo>
                      <a:pt x="294" y="482"/>
                    </a:lnTo>
                    <a:lnTo>
                      <a:pt x="307" y="478"/>
                    </a:lnTo>
                    <a:lnTo>
                      <a:pt x="310" y="470"/>
                    </a:lnTo>
                    <a:lnTo>
                      <a:pt x="319" y="475"/>
                    </a:lnTo>
                    <a:lnTo>
                      <a:pt x="319" y="467"/>
                    </a:lnTo>
                    <a:lnTo>
                      <a:pt x="317" y="455"/>
                    </a:lnTo>
                    <a:lnTo>
                      <a:pt x="307" y="445"/>
                    </a:lnTo>
                    <a:lnTo>
                      <a:pt x="316" y="444"/>
                    </a:lnTo>
                    <a:lnTo>
                      <a:pt x="316" y="430"/>
                    </a:lnTo>
                    <a:lnTo>
                      <a:pt x="329" y="422"/>
                    </a:lnTo>
                    <a:lnTo>
                      <a:pt x="339" y="418"/>
                    </a:lnTo>
                    <a:lnTo>
                      <a:pt x="345" y="409"/>
                    </a:lnTo>
                    <a:lnTo>
                      <a:pt x="367" y="412"/>
                    </a:lnTo>
                    <a:lnTo>
                      <a:pt x="372" y="420"/>
                    </a:lnTo>
                    <a:lnTo>
                      <a:pt x="378" y="412"/>
                    </a:lnTo>
                    <a:lnTo>
                      <a:pt x="385" y="412"/>
                    </a:lnTo>
                    <a:lnTo>
                      <a:pt x="396" y="412"/>
                    </a:lnTo>
                    <a:lnTo>
                      <a:pt x="409" y="409"/>
                    </a:lnTo>
                    <a:lnTo>
                      <a:pt x="416" y="402"/>
                    </a:lnTo>
                    <a:lnTo>
                      <a:pt x="426" y="400"/>
                    </a:lnTo>
                    <a:lnTo>
                      <a:pt x="436" y="400"/>
                    </a:lnTo>
                    <a:lnTo>
                      <a:pt x="439" y="392"/>
                    </a:lnTo>
                    <a:lnTo>
                      <a:pt x="447" y="387"/>
                    </a:lnTo>
                    <a:lnTo>
                      <a:pt x="456" y="382"/>
                    </a:lnTo>
                    <a:lnTo>
                      <a:pt x="458" y="375"/>
                    </a:lnTo>
                    <a:lnTo>
                      <a:pt x="466" y="375"/>
                    </a:lnTo>
                    <a:lnTo>
                      <a:pt x="476" y="377"/>
                    </a:lnTo>
                    <a:lnTo>
                      <a:pt x="494" y="370"/>
                    </a:lnTo>
                    <a:lnTo>
                      <a:pt x="514" y="375"/>
                    </a:lnTo>
                    <a:lnTo>
                      <a:pt x="520" y="382"/>
                    </a:lnTo>
                    <a:lnTo>
                      <a:pt x="529" y="380"/>
                    </a:lnTo>
                    <a:lnTo>
                      <a:pt x="540" y="385"/>
                    </a:lnTo>
                    <a:lnTo>
                      <a:pt x="547" y="387"/>
                    </a:lnTo>
                    <a:lnTo>
                      <a:pt x="556" y="390"/>
                    </a:lnTo>
                    <a:lnTo>
                      <a:pt x="568" y="392"/>
                    </a:lnTo>
                    <a:lnTo>
                      <a:pt x="578" y="400"/>
                    </a:lnTo>
                    <a:lnTo>
                      <a:pt x="591" y="392"/>
                    </a:lnTo>
                    <a:lnTo>
                      <a:pt x="598" y="382"/>
                    </a:lnTo>
                    <a:lnTo>
                      <a:pt x="601" y="375"/>
                    </a:lnTo>
                    <a:lnTo>
                      <a:pt x="601" y="365"/>
                    </a:lnTo>
                    <a:lnTo>
                      <a:pt x="598" y="357"/>
                    </a:lnTo>
                    <a:lnTo>
                      <a:pt x="604" y="350"/>
                    </a:lnTo>
                    <a:lnTo>
                      <a:pt x="606" y="338"/>
                    </a:lnTo>
                    <a:lnTo>
                      <a:pt x="616" y="330"/>
                    </a:lnTo>
                    <a:lnTo>
                      <a:pt x="620" y="320"/>
                    </a:lnTo>
                    <a:lnTo>
                      <a:pt x="629" y="315"/>
                    </a:lnTo>
                    <a:lnTo>
                      <a:pt x="635" y="310"/>
                    </a:lnTo>
                    <a:lnTo>
                      <a:pt x="649" y="312"/>
                    </a:lnTo>
                    <a:lnTo>
                      <a:pt x="651" y="312"/>
                    </a:lnTo>
                    <a:lnTo>
                      <a:pt x="655" y="232"/>
                    </a:lnTo>
                    <a:lnTo>
                      <a:pt x="663" y="12"/>
                    </a:lnTo>
                    <a:lnTo>
                      <a:pt x="357" y="8"/>
                    </a:lnTo>
                    <a:lnTo>
                      <a:pt x="202" y="5"/>
                    </a:lnTo>
                    <a:lnTo>
                      <a:pt x="65" y="3"/>
                    </a:lnTo>
                    <a:lnTo>
                      <a:pt x="3" y="0"/>
                    </a:lnTo>
                    <a:lnTo>
                      <a:pt x="0" y="198"/>
                    </a:lnTo>
                    <a:lnTo>
                      <a:pt x="19" y="183"/>
                    </a:lnTo>
                    <a:lnTo>
                      <a:pt x="30" y="180"/>
                    </a:lnTo>
                    <a:lnTo>
                      <a:pt x="41" y="180"/>
                    </a:lnTo>
                    <a:lnTo>
                      <a:pt x="67" y="185"/>
                    </a:lnTo>
                    <a:lnTo>
                      <a:pt x="73" y="190"/>
                    </a:lnTo>
                    <a:lnTo>
                      <a:pt x="97" y="208"/>
                    </a:lnTo>
                    <a:lnTo>
                      <a:pt x="110" y="214"/>
                    </a:lnTo>
                    <a:lnTo>
                      <a:pt x="121" y="220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2" name="Freeform 13"/>
              <p:cNvSpPr>
                <a:spLocks/>
              </p:cNvSpPr>
              <p:nvPr/>
            </p:nvSpPr>
            <p:spPr bwMode="auto">
              <a:xfrm>
                <a:off x="4265894" y="2885337"/>
                <a:ext cx="761725" cy="762778"/>
              </a:xfrm>
              <a:custGeom>
                <a:avLst/>
                <a:gdLst/>
                <a:ahLst/>
                <a:cxnLst>
                  <a:cxn ang="0">
                    <a:pos x="639" y="75"/>
                  </a:cxn>
                  <a:cxn ang="0">
                    <a:pos x="665" y="35"/>
                  </a:cxn>
                  <a:cxn ang="0">
                    <a:pos x="704" y="32"/>
                  </a:cxn>
                  <a:cxn ang="0">
                    <a:pos x="750" y="8"/>
                  </a:cxn>
                  <a:cxn ang="0">
                    <a:pos x="790" y="12"/>
                  </a:cxn>
                  <a:cxn ang="0">
                    <a:pos x="835" y="32"/>
                  </a:cxn>
                  <a:cxn ang="0">
                    <a:pos x="869" y="100"/>
                  </a:cxn>
                  <a:cxn ang="0">
                    <a:pos x="878" y="146"/>
                  </a:cxn>
                  <a:cxn ang="0">
                    <a:pos x="790" y="182"/>
                  </a:cxn>
                  <a:cxn ang="0">
                    <a:pos x="761" y="222"/>
                  </a:cxn>
                  <a:cxn ang="0">
                    <a:pos x="719" y="257"/>
                  </a:cxn>
                  <a:cxn ang="0">
                    <a:pos x="708" y="342"/>
                  </a:cxn>
                  <a:cxn ang="0">
                    <a:pos x="681" y="382"/>
                  </a:cxn>
                  <a:cxn ang="0">
                    <a:pos x="653" y="471"/>
                  </a:cxn>
                  <a:cxn ang="0">
                    <a:pos x="599" y="499"/>
                  </a:cxn>
                  <a:cxn ang="0">
                    <a:pos x="570" y="524"/>
                  </a:cxn>
                  <a:cxn ang="0">
                    <a:pos x="543" y="549"/>
                  </a:cxn>
                  <a:cxn ang="0">
                    <a:pos x="518" y="644"/>
                  </a:cxn>
                  <a:cxn ang="0">
                    <a:pos x="291" y="672"/>
                  </a:cxn>
                  <a:cxn ang="0">
                    <a:pos x="263" y="714"/>
                  </a:cxn>
                  <a:cxn ang="0">
                    <a:pos x="235" y="739"/>
                  </a:cxn>
                  <a:cxn ang="0">
                    <a:pos x="208" y="846"/>
                  </a:cxn>
                  <a:cxn ang="0">
                    <a:pos x="153" y="827"/>
                  </a:cxn>
                  <a:cxn ang="0">
                    <a:pos x="153" y="794"/>
                  </a:cxn>
                  <a:cxn ang="0">
                    <a:pos x="155" y="738"/>
                  </a:cxn>
                  <a:cxn ang="0">
                    <a:pos x="122" y="714"/>
                  </a:cxn>
                  <a:cxn ang="0">
                    <a:pos x="52" y="704"/>
                  </a:cxn>
                  <a:cxn ang="0">
                    <a:pos x="13" y="671"/>
                  </a:cxn>
                  <a:cxn ang="0">
                    <a:pos x="0" y="634"/>
                  </a:cxn>
                  <a:cxn ang="0">
                    <a:pos x="28" y="549"/>
                  </a:cxn>
                  <a:cxn ang="0">
                    <a:pos x="55" y="505"/>
                  </a:cxn>
                  <a:cxn ang="0">
                    <a:pos x="57" y="464"/>
                  </a:cxn>
                  <a:cxn ang="0">
                    <a:pos x="77" y="427"/>
                  </a:cxn>
                  <a:cxn ang="0">
                    <a:pos x="66" y="375"/>
                  </a:cxn>
                  <a:cxn ang="0">
                    <a:pos x="138" y="353"/>
                  </a:cxn>
                  <a:cxn ang="0">
                    <a:pos x="213" y="329"/>
                  </a:cxn>
                  <a:cxn ang="0">
                    <a:pos x="231" y="290"/>
                  </a:cxn>
                  <a:cxn ang="0">
                    <a:pos x="263" y="248"/>
                  </a:cxn>
                  <a:cxn ang="0">
                    <a:pos x="278" y="213"/>
                  </a:cxn>
                  <a:cxn ang="0">
                    <a:pos x="288" y="179"/>
                  </a:cxn>
                  <a:cxn ang="0">
                    <a:pos x="289" y="140"/>
                  </a:cxn>
                  <a:cxn ang="0">
                    <a:pos x="276" y="92"/>
                  </a:cxn>
                  <a:cxn ang="0">
                    <a:pos x="320" y="68"/>
                  </a:cxn>
                  <a:cxn ang="0">
                    <a:pos x="363" y="50"/>
                  </a:cxn>
                  <a:cxn ang="0">
                    <a:pos x="400" y="63"/>
                  </a:cxn>
                  <a:cxn ang="0">
                    <a:pos x="405" y="106"/>
                  </a:cxn>
                  <a:cxn ang="0">
                    <a:pos x="443" y="145"/>
                  </a:cxn>
                  <a:cxn ang="0">
                    <a:pos x="470" y="117"/>
                  </a:cxn>
                  <a:cxn ang="0">
                    <a:pos x="510" y="88"/>
                  </a:cxn>
                  <a:cxn ang="0">
                    <a:pos x="543" y="68"/>
                  </a:cxn>
                  <a:cxn ang="0">
                    <a:pos x="578" y="80"/>
                  </a:cxn>
                  <a:cxn ang="0">
                    <a:pos x="619" y="88"/>
                  </a:cxn>
                </a:cxnLst>
                <a:rect l="0" t="0" r="r" b="b"/>
                <a:pathLst>
                  <a:path w="884" h="847">
                    <a:moveTo>
                      <a:pt x="619" y="88"/>
                    </a:moveTo>
                    <a:lnTo>
                      <a:pt x="630" y="92"/>
                    </a:lnTo>
                    <a:lnTo>
                      <a:pt x="638" y="86"/>
                    </a:lnTo>
                    <a:lnTo>
                      <a:pt x="639" y="75"/>
                    </a:lnTo>
                    <a:lnTo>
                      <a:pt x="639" y="63"/>
                    </a:lnTo>
                    <a:lnTo>
                      <a:pt x="639" y="52"/>
                    </a:lnTo>
                    <a:lnTo>
                      <a:pt x="655" y="35"/>
                    </a:lnTo>
                    <a:lnTo>
                      <a:pt x="665" y="35"/>
                    </a:lnTo>
                    <a:lnTo>
                      <a:pt x="675" y="40"/>
                    </a:lnTo>
                    <a:lnTo>
                      <a:pt x="686" y="46"/>
                    </a:lnTo>
                    <a:lnTo>
                      <a:pt x="697" y="40"/>
                    </a:lnTo>
                    <a:lnTo>
                      <a:pt x="704" y="32"/>
                    </a:lnTo>
                    <a:lnTo>
                      <a:pt x="713" y="32"/>
                    </a:lnTo>
                    <a:lnTo>
                      <a:pt x="726" y="23"/>
                    </a:lnTo>
                    <a:lnTo>
                      <a:pt x="737" y="17"/>
                    </a:lnTo>
                    <a:lnTo>
                      <a:pt x="750" y="8"/>
                    </a:lnTo>
                    <a:lnTo>
                      <a:pt x="756" y="3"/>
                    </a:lnTo>
                    <a:lnTo>
                      <a:pt x="770" y="0"/>
                    </a:lnTo>
                    <a:lnTo>
                      <a:pt x="778" y="5"/>
                    </a:lnTo>
                    <a:lnTo>
                      <a:pt x="790" y="12"/>
                    </a:lnTo>
                    <a:lnTo>
                      <a:pt x="801" y="8"/>
                    </a:lnTo>
                    <a:lnTo>
                      <a:pt x="811" y="8"/>
                    </a:lnTo>
                    <a:lnTo>
                      <a:pt x="826" y="23"/>
                    </a:lnTo>
                    <a:lnTo>
                      <a:pt x="835" y="32"/>
                    </a:lnTo>
                    <a:lnTo>
                      <a:pt x="844" y="83"/>
                    </a:lnTo>
                    <a:lnTo>
                      <a:pt x="851" y="88"/>
                    </a:lnTo>
                    <a:lnTo>
                      <a:pt x="858" y="97"/>
                    </a:lnTo>
                    <a:lnTo>
                      <a:pt x="869" y="100"/>
                    </a:lnTo>
                    <a:lnTo>
                      <a:pt x="883" y="115"/>
                    </a:lnTo>
                    <a:lnTo>
                      <a:pt x="883" y="130"/>
                    </a:lnTo>
                    <a:lnTo>
                      <a:pt x="883" y="137"/>
                    </a:lnTo>
                    <a:lnTo>
                      <a:pt x="878" y="146"/>
                    </a:lnTo>
                    <a:lnTo>
                      <a:pt x="869" y="155"/>
                    </a:lnTo>
                    <a:lnTo>
                      <a:pt x="869" y="166"/>
                    </a:lnTo>
                    <a:lnTo>
                      <a:pt x="786" y="166"/>
                    </a:lnTo>
                    <a:lnTo>
                      <a:pt x="790" y="182"/>
                    </a:lnTo>
                    <a:lnTo>
                      <a:pt x="775" y="182"/>
                    </a:lnTo>
                    <a:lnTo>
                      <a:pt x="775" y="208"/>
                    </a:lnTo>
                    <a:lnTo>
                      <a:pt x="761" y="208"/>
                    </a:lnTo>
                    <a:lnTo>
                      <a:pt x="761" y="222"/>
                    </a:lnTo>
                    <a:lnTo>
                      <a:pt x="733" y="222"/>
                    </a:lnTo>
                    <a:lnTo>
                      <a:pt x="733" y="237"/>
                    </a:lnTo>
                    <a:lnTo>
                      <a:pt x="719" y="237"/>
                    </a:lnTo>
                    <a:lnTo>
                      <a:pt x="719" y="257"/>
                    </a:lnTo>
                    <a:lnTo>
                      <a:pt x="719" y="292"/>
                    </a:lnTo>
                    <a:lnTo>
                      <a:pt x="719" y="315"/>
                    </a:lnTo>
                    <a:lnTo>
                      <a:pt x="706" y="315"/>
                    </a:lnTo>
                    <a:lnTo>
                      <a:pt x="708" y="342"/>
                    </a:lnTo>
                    <a:lnTo>
                      <a:pt x="697" y="342"/>
                    </a:lnTo>
                    <a:lnTo>
                      <a:pt x="695" y="362"/>
                    </a:lnTo>
                    <a:lnTo>
                      <a:pt x="681" y="367"/>
                    </a:lnTo>
                    <a:lnTo>
                      <a:pt x="681" y="382"/>
                    </a:lnTo>
                    <a:lnTo>
                      <a:pt x="666" y="382"/>
                    </a:lnTo>
                    <a:lnTo>
                      <a:pt x="666" y="435"/>
                    </a:lnTo>
                    <a:lnTo>
                      <a:pt x="653" y="435"/>
                    </a:lnTo>
                    <a:lnTo>
                      <a:pt x="653" y="471"/>
                    </a:lnTo>
                    <a:lnTo>
                      <a:pt x="639" y="471"/>
                    </a:lnTo>
                    <a:lnTo>
                      <a:pt x="639" y="485"/>
                    </a:lnTo>
                    <a:lnTo>
                      <a:pt x="599" y="485"/>
                    </a:lnTo>
                    <a:lnTo>
                      <a:pt x="599" y="499"/>
                    </a:lnTo>
                    <a:lnTo>
                      <a:pt x="585" y="499"/>
                    </a:lnTo>
                    <a:lnTo>
                      <a:pt x="585" y="511"/>
                    </a:lnTo>
                    <a:lnTo>
                      <a:pt x="570" y="511"/>
                    </a:lnTo>
                    <a:lnTo>
                      <a:pt x="570" y="524"/>
                    </a:lnTo>
                    <a:lnTo>
                      <a:pt x="558" y="524"/>
                    </a:lnTo>
                    <a:lnTo>
                      <a:pt x="558" y="537"/>
                    </a:lnTo>
                    <a:lnTo>
                      <a:pt x="543" y="537"/>
                    </a:lnTo>
                    <a:lnTo>
                      <a:pt x="543" y="549"/>
                    </a:lnTo>
                    <a:lnTo>
                      <a:pt x="530" y="549"/>
                    </a:lnTo>
                    <a:lnTo>
                      <a:pt x="530" y="564"/>
                    </a:lnTo>
                    <a:lnTo>
                      <a:pt x="518" y="564"/>
                    </a:lnTo>
                    <a:lnTo>
                      <a:pt x="518" y="644"/>
                    </a:lnTo>
                    <a:lnTo>
                      <a:pt x="496" y="644"/>
                    </a:lnTo>
                    <a:lnTo>
                      <a:pt x="476" y="644"/>
                    </a:lnTo>
                    <a:lnTo>
                      <a:pt x="291" y="649"/>
                    </a:lnTo>
                    <a:lnTo>
                      <a:pt x="291" y="672"/>
                    </a:lnTo>
                    <a:lnTo>
                      <a:pt x="278" y="672"/>
                    </a:lnTo>
                    <a:lnTo>
                      <a:pt x="278" y="689"/>
                    </a:lnTo>
                    <a:lnTo>
                      <a:pt x="263" y="689"/>
                    </a:lnTo>
                    <a:lnTo>
                      <a:pt x="263" y="714"/>
                    </a:lnTo>
                    <a:lnTo>
                      <a:pt x="251" y="714"/>
                    </a:lnTo>
                    <a:lnTo>
                      <a:pt x="251" y="729"/>
                    </a:lnTo>
                    <a:lnTo>
                      <a:pt x="235" y="729"/>
                    </a:lnTo>
                    <a:lnTo>
                      <a:pt x="235" y="739"/>
                    </a:lnTo>
                    <a:lnTo>
                      <a:pt x="222" y="739"/>
                    </a:lnTo>
                    <a:lnTo>
                      <a:pt x="222" y="754"/>
                    </a:lnTo>
                    <a:lnTo>
                      <a:pt x="211" y="754"/>
                    </a:lnTo>
                    <a:lnTo>
                      <a:pt x="208" y="846"/>
                    </a:lnTo>
                    <a:lnTo>
                      <a:pt x="197" y="838"/>
                    </a:lnTo>
                    <a:lnTo>
                      <a:pt x="170" y="843"/>
                    </a:lnTo>
                    <a:lnTo>
                      <a:pt x="158" y="836"/>
                    </a:lnTo>
                    <a:lnTo>
                      <a:pt x="153" y="827"/>
                    </a:lnTo>
                    <a:lnTo>
                      <a:pt x="148" y="819"/>
                    </a:lnTo>
                    <a:lnTo>
                      <a:pt x="148" y="807"/>
                    </a:lnTo>
                    <a:lnTo>
                      <a:pt x="150" y="801"/>
                    </a:lnTo>
                    <a:lnTo>
                      <a:pt x="153" y="794"/>
                    </a:lnTo>
                    <a:lnTo>
                      <a:pt x="155" y="771"/>
                    </a:lnTo>
                    <a:lnTo>
                      <a:pt x="155" y="759"/>
                    </a:lnTo>
                    <a:lnTo>
                      <a:pt x="155" y="749"/>
                    </a:lnTo>
                    <a:lnTo>
                      <a:pt x="155" y="738"/>
                    </a:lnTo>
                    <a:lnTo>
                      <a:pt x="148" y="734"/>
                    </a:lnTo>
                    <a:lnTo>
                      <a:pt x="142" y="729"/>
                    </a:lnTo>
                    <a:lnTo>
                      <a:pt x="131" y="718"/>
                    </a:lnTo>
                    <a:lnTo>
                      <a:pt x="122" y="714"/>
                    </a:lnTo>
                    <a:lnTo>
                      <a:pt x="98" y="712"/>
                    </a:lnTo>
                    <a:lnTo>
                      <a:pt x="77" y="705"/>
                    </a:lnTo>
                    <a:lnTo>
                      <a:pt x="63" y="704"/>
                    </a:lnTo>
                    <a:lnTo>
                      <a:pt x="52" y="704"/>
                    </a:lnTo>
                    <a:lnTo>
                      <a:pt x="43" y="699"/>
                    </a:lnTo>
                    <a:lnTo>
                      <a:pt x="21" y="689"/>
                    </a:lnTo>
                    <a:lnTo>
                      <a:pt x="17" y="679"/>
                    </a:lnTo>
                    <a:lnTo>
                      <a:pt x="13" y="671"/>
                    </a:lnTo>
                    <a:lnTo>
                      <a:pt x="10" y="658"/>
                    </a:lnTo>
                    <a:lnTo>
                      <a:pt x="6" y="652"/>
                    </a:lnTo>
                    <a:lnTo>
                      <a:pt x="3" y="644"/>
                    </a:lnTo>
                    <a:lnTo>
                      <a:pt x="0" y="634"/>
                    </a:lnTo>
                    <a:lnTo>
                      <a:pt x="1" y="624"/>
                    </a:lnTo>
                    <a:lnTo>
                      <a:pt x="8" y="579"/>
                    </a:lnTo>
                    <a:lnTo>
                      <a:pt x="18" y="554"/>
                    </a:lnTo>
                    <a:lnTo>
                      <a:pt x="28" y="549"/>
                    </a:lnTo>
                    <a:lnTo>
                      <a:pt x="40" y="537"/>
                    </a:lnTo>
                    <a:lnTo>
                      <a:pt x="43" y="525"/>
                    </a:lnTo>
                    <a:lnTo>
                      <a:pt x="52" y="512"/>
                    </a:lnTo>
                    <a:lnTo>
                      <a:pt x="55" y="505"/>
                    </a:lnTo>
                    <a:lnTo>
                      <a:pt x="52" y="494"/>
                    </a:lnTo>
                    <a:lnTo>
                      <a:pt x="52" y="484"/>
                    </a:lnTo>
                    <a:lnTo>
                      <a:pt x="52" y="471"/>
                    </a:lnTo>
                    <a:lnTo>
                      <a:pt x="57" y="464"/>
                    </a:lnTo>
                    <a:lnTo>
                      <a:pt x="63" y="452"/>
                    </a:lnTo>
                    <a:lnTo>
                      <a:pt x="68" y="445"/>
                    </a:lnTo>
                    <a:lnTo>
                      <a:pt x="75" y="437"/>
                    </a:lnTo>
                    <a:lnTo>
                      <a:pt x="77" y="427"/>
                    </a:lnTo>
                    <a:lnTo>
                      <a:pt x="68" y="407"/>
                    </a:lnTo>
                    <a:lnTo>
                      <a:pt x="63" y="399"/>
                    </a:lnTo>
                    <a:lnTo>
                      <a:pt x="63" y="387"/>
                    </a:lnTo>
                    <a:lnTo>
                      <a:pt x="66" y="375"/>
                    </a:lnTo>
                    <a:lnTo>
                      <a:pt x="73" y="367"/>
                    </a:lnTo>
                    <a:lnTo>
                      <a:pt x="80" y="362"/>
                    </a:lnTo>
                    <a:lnTo>
                      <a:pt x="126" y="345"/>
                    </a:lnTo>
                    <a:lnTo>
                      <a:pt x="138" y="353"/>
                    </a:lnTo>
                    <a:lnTo>
                      <a:pt x="150" y="355"/>
                    </a:lnTo>
                    <a:lnTo>
                      <a:pt x="193" y="342"/>
                    </a:lnTo>
                    <a:lnTo>
                      <a:pt x="211" y="342"/>
                    </a:lnTo>
                    <a:lnTo>
                      <a:pt x="213" y="329"/>
                    </a:lnTo>
                    <a:lnTo>
                      <a:pt x="220" y="320"/>
                    </a:lnTo>
                    <a:lnTo>
                      <a:pt x="222" y="313"/>
                    </a:lnTo>
                    <a:lnTo>
                      <a:pt x="228" y="300"/>
                    </a:lnTo>
                    <a:lnTo>
                      <a:pt x="231" y="290"/>
                    </a:lnTo>
                    <a:lnTo>
                      <a:pt x="233" y="280"/>
                    </a:lnTo>
                    <a:lnTo>
                      <a:pt x="253" y="272"/>
                    </a:lnTo>
                    <a:lnTo>
                      <a:pt x="260" y="265"/>
                    </a:lnTo>
                    <a:lnTo>
                      <a:pt x="263" y="248"/>
                    </a:lnTo>
                    <a:lnTo>
                      <a:pt x="260" y="232"/>
                    </a:lnTo>
                    <a:lnTo>
                      <a:pt x="265" y="225"/>
                    </a:lnTo>
                    <a:lnTo>
                      <a:pt x="273" y="219"/>
                    </a:lnTo>
                    <a:lnTo>
                      <a:pt x="278" y="213"/>
                    </a:lnTo>
                    <a:lnTo>
                      <a:pt x="288" y="205"/>
                    </a:lnTo>
                    <a:lnTo>
                      <a:pt x="293" y="195"/>
                    </a:lnTo>
                    <a:lnTo>
                      <a:pt x="293" y="188"/>
                    </a:lnTo>
                    <a:lnTo>
                      <a:pt x="288" y="179"/>
                    </a:lnTo>
                    <a:lnTo>
                      <a:pt x="280" y="170"/>
                    </a:lnTo>
                    <a:lnTo>
                      <a:pt x="280" y="162"/>
                    </a:lnTo>
                    <a:lnTo>
                      <a:pt x="283" y="150"/>
                    </a:lnTo>
                    <a:lnTo>
                      <a:pt x="289" y="140"/>
                    </a:lnTo>
                    <a:lnTo>
                      <a:pt x="289" y="132"/>
                    </a:lnTo>
                    <a:lnTo>
                      <a:pt x="278" y="112"/>
                    </a:lnTo>
                    <a:lnTo>
                      <a:pt x="273" y="100"/>
                    </a:lnTo>
                    <a:lnTo>
                      <a:pt x="276" y="92"/>
                    </a:lnTo>
                    <a:lnTo>
                      <a:pt x="288" y="86"/>
                    </a:lnTo>
                    <a:lnTo>
                      <a:pt x="298" y="77"/>
                    </a:lnTo>
                    <a:lnTo>
                      <a:pt x="307" y="72"/>
                    </a:lnTo>
                    <a:lnTo>
                      <a:pt x="320" y="68"/>
                    </a:lnTo>
                    <a:lnTo>
                      <a:pt x="341" y="63"/>
                    </a:lnTo>
                    <a:lnTo>
                      <a:pt x="348" y="57"/>
                    </a:lnTo>
                    <a:lnTo>
                      <a:pt x="351" y="50"/>
                    </a:lnTo>
                    <a:lnTo>
                      <a:pt x="363" y="50"/>
                    </a:lnTo>
                    <a:lnTo>
                      <a:pt x="373" y="52"/>
                    </a:lnTo>
                    <a:lnTo>
                      <a:pt x="380" y="63"/>
                    </a:lnTo>
                    <a:lnTo>
                      <a:pt x="388" y="68"/>
                    </a:lnTo>
                    <a:lnTo>
                      <a:pt x="400" y="63"/>
                    </a:lnTo>
                    <a:lnTo>
                      <a:pt x="407" y="57"/>
                    </a:lnTo>
                    <a:lnTo>
                      <a:pt x="418" y="72"/>
                    </a:lnTo>
                    <a:lnTo>
                      <a:pt x="414" y="88"/>
                    </a:lnTo>
                    <a:lnTo>
                      <a:pt x="405" y="106"/>
                    </a:lnTo>
                    <a:lnTo>
                      <a:pt x="405" y="117"/>
                    </a:lnTo>
                    <a:lnTo>
                      <a:pt x="420" y="132"/>
                    </a:lnTo>
                    <a:lnTo>
                      <a:pt x="427" y="137"/>
                    </a:lnTo>
                    <a:lnTo>
                      <a:pt x="443" y="145"/>
                    </a:lnTo>
                    <a:lnTo>
                      <a:pt x="450" y="145"/>
                    </a:lnTo>
                    <a:lnTo>
                      <a:pt x="460" y="132"/>
                    </a:lnTo>
                    <a:lnTo>
                      <a:pt x="465" y="125"/>
                    </a:lnTo>
                    <a:lnTo>
                      <a:pt x="470" y="117"/>
                    </a:lnTo>
                    <a:lnTo>
                      <a:pt x="481" y="112"/>
                    </a:lnTo>
                    <a:lnTo>
                      <a:pt x="488" y="106"/>
                    </a:lnTo>
                    <a:lnTo>
                      <a:pt x="501" y="92"/>
                    </a:lnTo>
                    <a:lnTo>
                      <a:pt x="510" y="88"/>
                    </a:lnTo>
                    <a:lnTo>
                      <a:pt x="518" y="77"/>
                    </a:lnTo>
                    <a:lnTo>
                      <a:pt x="523" y="68"/>
                    </a:lnTo>
                    <a:lnTo>
                      <a:pt x="534" y="68"/>
                    </a:lnTo>
                    <a:lnTo>
                      <a:pt x="543" y="68"/>
                    </a:lnTo>
                    <a:lnTo>
                      <a:pt x="550" y="68"/>
                    </a:lnTo>
                    <a:lnTo>
                      <a:pt x="561" y="68"/>
                    </a:lnTo>
                    <a:lnTo>
                      <a:pt x="570" y="72"/>
                    </a:lnTo>
                    <a:lnTo>
                      <a:pt x="578" y="80"/>
                    </a:lnTo>
                    <a:lnTo>
                      <a:pt x="583" y="86"/>
                    </a:lnTo>
                    <a:lnTo>
                      <a:pt x="592" y="92"/>
                    </a:lnTo>
                    <a:lnTo>
                      <a:pt x="608" y="88"/>
                    </a:lnTo>
                    <a:lnTo>
                      <a:pt x="619" y="88"/>
                    </a:lnTo>
                  </a:path>
                </a:pathLst>
              </a:custGeom>
              <a:solidFill>
                <a:srgbClr val="349D96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3" name="Freeform 14"/>
              <p:cNvSpPr>
                <a:spLocks/>
              </p:cNvSpPr>
              <p:nvPr/>
            </p:nvSpPr>
            <p:spPr bwMode="auto">
              <a:xfrm>
                <a:off x="5070703" y="2183798"/>
                <a:ext cx="425670" cy="949194"/>
              </a:xfrm>
              <a:custGeom>
                <a:avLst/>
                <a:gdLst/>
                <a:ahLst/>
                <a:cxnLst>
                  <a:cxn ang="0">
                    <a:pos x="490" y="299"/>
                  </a:cxn>
                  <a:cxn ang="0">
                    <a:pos x="481" y="267"/>
                  </a:cxn>
                  <a:cxn ang="0">
                    <a:pos x="474" y="240"/>
                  </a:cxn>
                  <a:cxn ang="0">
                    <a:pos x="476" y="220"/>
                  </a:cxn>
                  <a:cxn ang="0">
                    <a:pos x="474" y="197"/>
                  </a:cxn>
                  <a:cxn ang="0">
                    <a:pos x="458" y="186"/>
                  </a:cxn>
                  <a:cxn ang="0">
                    <a:pos x="446" y="159"/>
                  </a:cxn>
                  <a:cxn ang="0">
                    <a:pos x="423" y="126"/>
                  </a:cxn>
                  <a:cxn ang="0">
                    <a:pos x="413" y="97"/>
                  </a:cxn>
                  <a:cxn ang="0">
                    <a:pos x="419" y="70"/>
                  </a:cxn>
                  <a:cxn ang="0">
                    <a:pos x="413" y="26"/>
                  </a:cxn>
                  <a:cxn ang="0">
                    <a:pos x="413" y="6"/>
                  </a:cxn>
                  <a:cxn ang="0">
                    <a:pos x="325" y="1"/>
                  </a:cxn>
                  <a:cxn ang="0">
                    <a:pos x="21" y="319"/>
                  </a:cxn>
                  <a:cxn ang="0">
                    <a:pos x="21" y="477"/>
                  </a:cxn>
                  <a:cxn ang="0">
                    <a:pos x="41" y="954"/>
                  </a:cxn>
                  <a:cxn ang="0">
                    <a:pos x="53" y="979"/>
                  </a:cxn>
                  <a:cxn ang="0">
                    <a:pos x="83" y="985"/>
                  </a:cxn>
                  <a:cxn ang="0">
                    <a:pos x="112" y="994"/>
                  </a:cxn>
                  <a:cxn ang="0">
                    <a:pos x="125" y="963"/>
                  </a:cxn>
                  <a:cxn ang="0">
                    <a:pos x="155" y="966"/>
                  </a:cxn>
                  <a:cxn ang="0">
                    <a:pos x="185" y="966"/>
                  </a:cxn>
                  <a:cxn ang="0">
                    <a:pos x="210" y="965"/>
                  </a:cxn>
                  <a:cxn ang="0">
                    <a:pos x="235" y="994"/>
                  </a:cxn>
                  <a:cxn ang="0">
                    <a:pos x="243" y="1014"/>
                  </a:cxn>
                  <a:cxn ang="0">
                    <a:pos x="288" y="1014"/>
                  </a:cxn>
                  <a:cxn ang="0">
                    <a:pos x="303" y="1043"/>
                  </a:cxn>
                  <a:cxn ang="0">
                    <a:pos x="353" y="1041"/>
                  </a:cxn>
                  <a:cxn ang="0">
                    <a:pos x="359" y="1005"/>
                  </a:cxn>
                  <a:cxn ang="0">
                    <a:pos x="358" y="971"/>
                  </a:cxn>
                  <a:cxn ang="0">
                    <a:pos x="353" y="941"/>
                  </a:cxn>
                  <a:cxn ang="0">
                    <a:pos x="341" y="906"/>
                  </a:cxn>
                  <a:cxn ang="0">
                    <a:pos x="348" y="854"/>
                  </a:cxn>
                  <a:cxn ang="0">
                    <a:pos x="399" y="861"/>
                  </a:cxn>
                  <a:cxn ang="0">
                    <a:pos x="423" y="845"/>
                  </a:cxn>
                  <a:cxn ang="0">
                    <a:pos x="428" y="818"/>
                  </a:cxn>
                  <a:cxn ang="0">
                    <a:pos x="412" y="789"/>
                  </a:cxn>
                  <a:cxn ang="0">
                    <a:pos x="434" y="774"/>
                  </a:cxn>
                  <a:cxn ang="0">
                    <a:pos x="452" y="747"/>
                  </a:cxn>
                  <a:cxn ang="0">
                    <a:pos x="454" y="714"/>
                  </a:cxn>
                  <a:cxn ang="0">
                    <a:pos x="485" y="656"/>
                  </a:cxn>
                  <a:cxn ang="0">
                    <a:pos x="468" y="626"/>
                  </a:cxn>
                  <a:cxn ang="0">
                    <a:pos x="456" y="596"/>
                  </a:cxn>
                  <a:cxn ang="0">
                    <a:pos x="446" y="554"/>
                  </a:cxn>
                  <a:cxn ang="0">
                    <a:pos x="436" y="519"/>
                  </a:cxn>
                  <a:cxn ang="0">
                    <a:pos x="428" y="491"/>
                  </a:cxn>
                  <a:cxn ang="0">
                    <a:pos x="445" y="464"/>
                  </a:cxn>
                  <a:cxn ang="0">
                    <a:pos x="458" y="427"/>
                  </a:cxn>
                  <a:cxn ang="0">
                    <a:pos x="470" y="409"/>
                  </a:cxn>
                  <a:cxn ang="0">
                    <a:pos x="476" y="375"/>
                  </a:cxn>
                  <a:cxn ang="0">
                    <a:pos x="479" y="342"/>
                  </a:cxn>
                  <a:cxn ang="0">
                    <a:pos x="493" y="319"/>
                  </a:cxn>
                </a:cxnLst>
                <a:rect l="0" t="0" r="r" b="b"/>
                <a:pathLst>
                  <a:path w="494" h="1054">
                    <a:moveTo>
                      <a:pt x="493" y="319"/>
                    </a:moveTo>
                    <a:lnTo>
                      <a:pt x="493" y="310"/>
                    </a:lnTo>
                    <a:lnTo>
                      <a:pt x="490" y="299"/>
                    </a:lnTo>
                    <a:lnTo>
                      <a:pt x="488" y="290"/>
                    </a:lnTo>
                    <a:lnTo>
                      <a:pt x="486" y="280"/>
                    </a:lnTo>
                    <a:lnTo>
                      <a:pt x="481" y="267"/>
                    </a:lnTo>
                    <a:lnTo>
                      <a:pt x="481" y="262"/>
                    </a:lnTo>
                    <a:lnTo>
                      <a:pt x="481" y="250"/>
                    </a:lnTo>
                    <a:lnTo>
                      <a:pt x="474" y="240"/>
                    </a:lnTo>
                    <a:lnTo>
                      <a:pt x="481" y="232"/>
                    </a:lnTo>
                    <a:lnTo>
                      <a:pt x="474" y="230"/>
                    </a:lnTo>
                    <a:lnTo>
                      <a:pt x="476" y="220"/>
                    </a:lnTo>
                    <a:lnTo>
                      <a:pt x="470" y="215"/>
                    </a:lnTo>
                    <a:lnTo>
                      <a:pt x="470" y="205"/>
                    </a:lnTo>
                    <a:lnTo>
                      <a:pt x="474" y="197"/>
                    </a:lnTo>
                    <a:lnTo>
                      <a:pt x="470" y="188"/>
                    </a:lnTo>
                    <a:lnTo>
                      <a:pt x="461" y="195"/>
                    </a:lnTo>
                    <a:lnTo>
                      <a:pt x="458" y="186"/>
                    </a:lnTo>
                    <a:lnTo>
                      <a:pt x="452" y="179"/>
                    </a:lnTo>
                    <a:lnTo>
                      <a:pt x="452" y="168"/>
                    </a:lnTo>
                    <a:lnTo>
                      <a:pt x="446" y="159"/>
                    </a:lnTo>
                    <a:lnTo>
                      <a:pt x="445" y="152"/>
                    </a:lnTo>
                    <a:lnTo>
                      <a:pt x="428" y="139"/>
                    </a:lnTo>
                    <a:lnTo>
                      <a:pt x="423" y="126"/>
                    </a:lnTo>
                    <a:lnTo>
                      <a:pt x="423" y="113"/>
                    </a:lnTo>
                    <a:lnTo>
                      <a:pt x="413" y="108"/>
                    </a:lnTo>
                    <a:lnTo>
                      <a:pt x="413" y="97"/>
                    </a:lnTo>
                    <a:lnTo>
                      <a:pt x="418" y="88"/>
                    </a:lnTo>
                    <a:lnTo>
                      <a:pt x="423" y="79"/>
                    </a:lnTo>
                    <a:lnTo>
                      <a:pt x="419" y="70"/>
                    </a:lnTo>
                    <a:lnTo>
                      <a:pt x="412" y="59"/>
                    </a:lnTo>
                    <a:lnTo>
                      <a:pt x="408" y="50"/>
                    </a:lnTo>
                    <a:lnTo>
                      <a:pt x="413" y="26"/>
                    </a:lnTo>
                    <a:lnTo>
                      <a:pt x="405" y="25"/>
                    </a:lnTo>
                    <a:lnTo>
                      <a:pt x="408" y="15"/>
                    </a:lnTo>
                    <a:lnTo>
                      <a:pt x="413" y="6"/>
                    </a:lnTo>
                    <a:lnTo>
                      <a:pt x="408" y="0"/>
                    </a:lnTo>
                    <a:lnTo>
                      <a:pt x="421" y="0"/>
                    </a:lnTo>
                    <a:lnTo>
                      <a:pt x="325" y="1"/>
                    </a:lnTo>
                    <a:lnTo>
                      <a:pt x="13" y="6"/>
                    </a:lnTo>
                    <a:lnTo>
                      <a:pt x="15" y="162"/>
                    </a:lnTo>
                    <a:lnTo>
                      <a:pt x="21" y="319"/>
                    </a:lnTo>
                    <a:lnTo>
                      <a:pt x="0" y="319"/>
                    </a:lnTo>
                    <a:lnTo>
                      <a:pt x="3" y="477"/>
                    </a:lnTo>
                    <a:lnTo>
                      <a:pt x="21" y="477"/>
                    </a:lnTo>
                    <a:lnTo>
                      <a:pt x="26" y="943"/>
                    </a:lnTo>
                    <a:lnTo>
                      <a:pt x="32" y="946"/>
                    </a:lnTo>
                    <a:lnTo>
                      <a:pt x="41" y="954"/>
                    </a:lnTo>
                    <a:lnTo>
                      <a:pt x="41" y="965"/>
                    </a:lnTo>
                    <a:lnTo>
                      <a:pt x="46" y="972"/>
                    </a:lnTo>
                    <a:lnTo>
                      <a:pt x="53" y="979"/>
                    </a:lnTo>
                    <a:lnTo>
                      <a:pt x="63" y="983"/>
                    </a:lnTo>
                    <a:lnTo>
                      <a:pt x="73" y="983"/>
                    </a:lnTo>
                    <a:lnTo>
                      <a:pt x="83" y="985"/>
                    </a:lnTo>
                    <a:lnTo>
                      <a:pt x="93" y="990"/>
                    </a:lnTo>
                    <a:lnTo>
                      <a:pt x="103" y="994"/>
                    </a:lnTo>
                    <a:lnTo>
                      <a:pt x="112" y="994"/>
                    </a:lnTo>
                    <a:lnTo>
                      <a:pt x="121" y="990"/>
                    </a:lnTo>
                    <a:lnTo>
                      <a:pt x="121" y="979"/>
                    </a:lnTo>
                    <a:lnTo>
                      <a:pt x="125" y="963"/>
                    </a:lnTo>
                    <a:lnTo>
                      <a:pt x="132" y="956"/>
                    </a:lnTo>
                    <a:lnTo>
                      <a:pt x="139" y="956"/>
                    </a:lnTo>
                    <a:lnTo>
                      <a:pt x="155" y="966"/>
                    </a:lnTo>
                    <a:lnTo>
                      <a:pt x="165" y="971"/>
                    </a:lnTo>
                    <a:lnTo>
                      <a:pt x="172" y="966"/>
                    </a:lnTo>
                    <a:lnTo>
                      <a:pt x="185" y="966"/>
                    </a:lnTo>
                    <a:lnTo>
                      <a:pt x="195" y="966"/>
                    </a:lnTo>
                    <a:lnTo>
                      <a:pt x="203" y="965"/>
                    </a:lnTo>
                    <a:lnTo>
                      <a:pt x="210" y="965"/>
                    </a:lnTo>
                    <a:lnTo>
                      <a:pt x="235" y="972"/>
                    </a:lnTo>
                    <a:lnTo>
                      <a:pt x="238" y="983"/>
                    </a:lnTo>
                    <a:lnTo>
                      <a:pt x="235" y="994"/>
                    </a:lnTo>
                    <a:lnTo>
                      <a:pt x="232" y="1003"/>
                    </a:lnTo>
                    <a:lnTo>
                      <a:pt x="235" y="1012"/>
                    </a:lnTo>
                    <a:lnTo>
                      <a:pt x="243" y="1014"/>
                    </a:lnTo>
                    <a:lnTo>
                      <a:pt x="259" y="1014"/>
                    </a:lnTo>
                    <a:lnTo>
                      <a:pt x="283" y="1008"/>
                    </a:lnTo>
                    <a:lnTo>
                      <a:pt x="288" y="1014"/>
                    </a:lnTo>
                    <a:lnTo>
                      <a:pt x="288" y="1025"/>
                    </a:lnTo>
                    <a:lnTo>
                      <a:pt x="293" y="1038"/>
                    </a:lnTo>
                    <a:lnTo>
                      <a:pt x="303" y="1043"/>
                    </a:lnTo>
                    <a:lnTo>
                      <a:pt x="339" y="1053"/>
                    </a:lnTo>
                    <a:lnTo>
                      <a:pt x="348" y="1048"/>
                    </a:lnTo>
                    <a:lnTo>
                      <a:pt x="353" y="1041"/>
                    </a:lnTo>
                    <a:lnTo>
                      <a:pt x="358" y="1028"/>
                    </a:lnTo>
                    <a:lnTo>
                      <a:pt x="359" y="1018"/>
                    </a:lnTo>
                    <a:lnTo>
                      <a:pt x="359" y="1005"/>
                    </a:lnTo>
                    <a:lnTo>
                      <a:pt x="363" y="994"/>
                    </a:lnTo>
                    <a:lnTo>
                      <a:pt x="363" y="983"/>
                    </a:lnTo>
                    <a:lnTo>
                      <a:pt x="358" y="971"/>
                    </a:lnTo>
                    <a:lnTo>
                      <a:pt x="352" y="965"/>
                    </a:lnTo>
                    <a:lnTo>
                      <a:pt x="352" y="954"/>
                    </a:lnTo>
                    <a:lnTo>
                      <a:pt x="353" y="941"/>
                    </a:lnTo>
                    <a:lnTo>
                      <a:pt x="358" y="926"/>
                    </a:lnTo>
                    <a:lnTo>
                      <a:pt x="348" y="918"/>
                    </a:lnTo>
                    <a:lnTo>
                      <a:pt x="341" y="906"/>
                    </a:lnTo>
                    <a:lnTo>
                      <a:pt x="338" y="901"/>
                    </a:lnTo>
                    <a:lnTo>
                      <a:pt x="323" y="872"/>
                    </a:lnTo>
                    <a:lnTo>
                      <a:pt x="348" y="854"/>
                    </a:lnTo>
                    <a:lnTo>
                      <a:pt x="358" y="854"/>
                    </a:lnTo>
                    <a:lnTo>
                      <a:pt x="378" y="861"/>
                    </a:lnTo>
                    <a:lnTo>
                      <a:pt x="399" y="861"/>
                    </a:lnTo>
                    <a:lnTo>
                      <a:pt x="405" y="854"/>
                    </a:lnTo>
                    <a:lnTo>
                      <a:pt x="413" y="845"/>
                    </a:lnTo>
                    <a:lnTo>
                      <a:pt x="423" y="845"/>
                    </a:lnTo>
                    <a:lnTo>
                      <a:pt x="428" y="839"/>
                    </a:lnTo>
                    <a:lnTo>
                      <a:pt x="428" y="829"/>
                    </a:lnTo>
                    <a:lnTo>
                      <a:pt x="428" y="818"/>
                    </a:lnTo>
                    <a:lnTo>
                      <a:pt x="423" y="803"/>
                    </a:lnTo>
                    <a:lnTo>
                      <a:pt x="413" y="796"/>
                    </a:lnTo>
                    <a:lnTo>
                      <a:pt x="412" y="789"/>
                    </a:lnTo>
                    <a:lnTo>
                      <a:pt x="418" y="776"/>
                    </a:lnTo>
                    <a:lnTo>
                      <a:pt x="426" y="776"/>
                    </a:lnTo>
                    <a:lnTo>
                      <a:pt x="434" y="774"/>
                    </a:lnTo>
                    <a:lnTo>
                      <a:pt x="446" y="767"/>
                    </a:lnTo>
                    <a:lnTo>
                      <a:pt x="452" y="759"/>
                    </a:lnTo>
                    <a:lnTo>
                      <a:pt x="452" y="747"/>
                    </a:lnTo>
                    <a:lnTo>
                      <a:pt x="450" y="736"/>
                    </a:lnTo>
                    <a:lnTo>
                      <a:pt x="450" y="726"/>
                    </a:lnTo>
                    <a:lnTo>
                      <a:pt x="454" y="714"/>
                    </a:lnTo>
                    <a:lnTo>
                      <a:pt x="450" y="706"/>
                    </a:lnTo>
                    <a:lnTo>
                      <a:pt x="476" y="674"/>
                    </a:lnTo>
                    <a:lnTo>
                      <a:pt x="485" y="656"/>
                    </a:lnTo>
                    <a:lnTo>
                      <a:pt x="476" y="647"/>
                    </a:lnTo>
                    <a:lnTo>
                      <a:pt x="474" y="636"/>
                    </a:lnTo>
                    <a:lnTo>
                      <a:pt x="468" y="626"/>
                    </a:lnTo>
                    <a:lnTo>
                      <a:pt x="461" y="616"/>
                    </a:lnTo>
                    <a:lnTo>
                      <a:pt x="458" y="609"/>
                    </a:lnTo>
                    <a:lnTo>
                      <a:pt x="456" y="596"/>
                    </a:lnTo>
                    <a:lnTo>
                      <a:pt x="454" y="587"/>
                    </a:lnTo>
                    <a:lnTo>
                      <a:pt x="452" y="562"/>
                    </a:lnTo>
                    <a:lnTo>
                      <a:pt x="446" y="554"/>
                    </a:lnTo>
                    <a:lnTo>
                      <a:pt x="445" y="542"/>
                    </a:lnTo>
                    <a:lnTo>
                      <a:pt x="436" y="531"/>
                    </a:lnTo>
                    <a:lnTo>
                      <a:pt x="436" y="519"/>
                    </a:lnTo>
                    <a:lnTo>
                      <a:pt x="436" y="507"/>
                    </a:lnTo>
                    <a:lnTo>
                      <a:pt x="434" y="497"/>
                    </a:lnTo>
                    <a:lnTo>
                      <a:pt x="428" y="491"/>
                    </a:lnTo>
                    <a:lnTo>
                      <a:pt x="428" y="479"/>
                    </a:lnTo>
                    <a:lnTo>
                      <a:pt x="436" y="469"/>
                    </a:lnTo>
                    <a:lnTo>
                      <a:pt x="445" y="464"/>
                    </a:lnTo>
                    <a:lnTo>
                      <a:pt x="446" y="447"/>
                    </a:lnTo>
                    <a:lnTo>
                      <a:pt x="450" y="435"/>
                    </a:lnTo>
                    <a:lnTo>
                      <a:pt x="458" y="427"/>
                    </a:lnTo>
                    <a:lnTo>
                      <a:pt x="466" y="427"/>
                    </a:lnTo>
                    <a:lnTo>
                      <a:pt x="474" y="420"/>
                    </a:lnTo>
                    <a:lnTo>
                      <a:pt x="470" y="409"/>
                    </a:lnTo>
                    <a:lnTo>
                      <a:pt x="474" y="397"/>
                    </a:lnTo>
                    <a:lnTo>
                      <a:pt x="474" y="385"/>
                    </a:lnTo>
                    <a:lnTo>
                      <a:pt x="476" y="375"/>
                    </a:lnTo>
                    <a:lnTo>
                      <a:pt x="479" y="362"/>
                    </a:lnTo>
                    <a:lnTo>
                      <a:pt x="476" y="353"/>
                    </a:lnTo>
                    <a:lnTo>
                      <a:pt x="479" y="342"/>
                    </a:lnTo>
                    <a:lnTo>
                      <a:pt x="485" y="333"/>
                    </a:lnTo>
                    <a:lnTo>
                      <a:pt x="486" y="322"/>
                    </a:lnTo>
                    <a:lnTo>
                      <a:pt x="493" y="319"/>
                    </a:lnTo>
                  </a:path>
                </a:pathLst>
              </a:custGeom>
              <a:solidFill>
                <a:srgbClr val="349D96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4" name="Freeform 15"/>
              <p:cNvSpPr>
                <a:spLocks/>
              </p:cNvSpPr>
              <p:nvPr/>
            </p:nvSpPr>
            <p:spPr bwMode="auto">
              <a:xfrm>
                <a:off x="4772562" y="4018247"/>
                <a:ext cx="726396" cy="456586"/>
              </a:xfrm>
              <a:custGeom>
                <a:avLst/>
                <a:gdLst/>
                <a:ahLst/>
                <a:cxnLst>
                  <a:cxn ang="0">
                    <a:pos x="555" y="266"/>
                  </a:cxn>
                  <a:cxn ang="0">
                    <a:pos x="552" y="286"/>
                  </a:cxn>
                  <a:cxn ang="0">
                    <a:pos x="543" y="306"/>
                  </a:cxn>
                  <a:cxn ang="0">
                    <a:pos x="528" y="326"/>
                  </a:cxn>
                  <a:cxn ang="0">
                    <a:pos x="513" y="346"/>
                  </a:cxn>
                  <a:cxn ang="0">
                    <a:pos x="485" y="349"/>
                  </a:cxn>
                  <a:cxn ang="0">
                    <a:pos x="472" y="378"/>
                  </a:cxn>
                  <a:cxn ang="0">
                    <a:pos x="468" y="398"/>
                  </a:cxn>
                  <a:cxn ang="0">
                    <a:pos x="460" y="413"/>
                  </a:cxn>
                  <a:cxn ang="0">
                    <a:pos x="443" y="413"/>
                  </a:cxn>
                  <a:cxn ang="0">
                    <a:pos x="427" y="427"/>
                  </a:cxn>
                  <a:cxn ang="0">
                    <a:pos x="413" y="441"/>
                  </a:cxn>
                  <a:cxn ang="0">
                    <a:pos x="352" y="459"/>
                  </a:cxn>
                  <a:cxn ang="0">
                    <a:pos x="325" y="467"/>
                  </a:cxn>
                  <a:cxn ang="0">
                    <a:pos x="303" y="479"/>
                  </a:cxn>
                  <a:cxn ang="0">
                    <a:pos x="290" y="494"/>
                  </a:cxn>
                  <a:cxn ang="0">
                    <a:pos x="228" y="476"/>
                  </a:cxn>
                  <a:cxn ang="0">
                    <a:pos x="199" y="472"/>
                  </a:cxn>
                  <a:cxn ang="0">
                    <a:pos x="172" y="463"/>
                  </a:cxn>
                  <a:cxn ang="0">
                    <a:pos x="139" y="438"/>
                  </a:cxn>
                  <a:cxn ang="0">
                    <a:pos x="133" y="418"/>
                  </a:cxn>
                  <a:cxn ang="0">
                    <a:pos x="141" y="389"/>
                  </a:cxn>
                  <a:cxn ang="0">
                    <a:pos x="133" y="363"/>
                  </a:cxn>
                  <a:cxn ang="0">
                    <a:pos x="130" y="336"/>
                  </a:cxn>
                  <a:cxn ang="0">
                    <a:pos x="130" y="313"/>
                  </a:cxn>
                  <a:cxn ang="0">
                    <a:pos x="133" y="281"/>
                  </a:cxn>
                  <a:cxn ang="0">
                    <a:pos x="130" y="256"/>
                  </a:cxn>
                  <a:cxn ang="0">
                    <a:pos x="133" y="236"/>
                  </a:cxn>
                  <a:cxn ang="0">
                    <a:pos x="125" y="211"/>
                  </a:cxn>
                  <a:cxn ang="0">
                    <a:pos x="85" y="171"/>
                  </a:cxn>
                  <a:cxn ang="0">
                    <a:pos x="63" y="160"/>
                  </a:cxn>
                  <a:cxn ang="0">
                    <a:pos x="33" y="124"/>
                  </a:cxn>
                  <a:cxn ang="0">
                    <a:pos x="28" y="97"/>
                  </a:cxn>
                  <a:cxn ang="0">
                    <a:pos x="10" y="88"/>
                  </a:cxn>
                  <a:cxn ang="0">
                    <a:pos x="0" y="71"/>
                  </a:cxn>
                  <a:cxn ang="0">
                    <a:pos x="55" y="18"/>
                  </a:cxn>
                  <a:cxn ang="0">
                    <a:pos x="533" y="6"/>
                  </a:cxn>
                  <a:cxn ang="0">
                    <a:pos x="814" y="3"/>
                  </a:cxn>
                  <a:cxn ang="0">
                    <a:pos x="827" y="50"/>
                  </a:cxn>
                  <a:cxn ang="0">
                    <a:pos x="819" y="71"/>
                  </a:cxn>
                  <a:cxn ang="0">
                    <a:pos x="830" y="88"/>
                  </a:cxn>
                  <a:cxn ang="0">
                    <a:pos x="839" y="100"/>
                  </a:cxn>
                  <a:cxn ang="0">
                    <a:pos x="835" y="117"/>
                  </a:cxn>
                  <a:cxn ang="0">
                    <a:pos x="832" y="131"/>
                  </a:cxn>
                  <a:cxn ang="0">
                    <a:pos x="820" y="130"/>
                  </a:cxn>
                  <a:cxn ang="0">
                    <a:pos x="792" y="130"/>
                  </a:cxn>
                  <a:cxn ang="0">
                    <a:pos x="777" y="124"/>
                  </a:cxn>
                  <a:cxn ang="0">
                    <a:pos x="759" y="120"/>
                  </a:cxn>
                  <a:cxn ang="0">
                    <a:pos x="720" y="138"/>
                  </a:cxn>
                  <a:cxn ang="0">
                    <a:pos x="699" y="144"/>
                  </a:cxn>
                  <a:cxn ang="0">
                    <a:pos x="677" y="135"/>
                  </a:cxn>
                  <a:cxn ang="0">
                    <a:pos x="663" y="130"/>
                  </a:cxn>
                  <a:cxn ang="0">
                    <a:pos x="648" y="144"/>
                  </a:cxn>
                  <a:cxn ang="0">
                    <a:pos x="632" y="155"/>
                  </a:cxn>
                  <a:cxn ang="0">
                    <a:pos x="608" y="170"/>
                  </a:cxn>
                  <a:cxn ang="0">
                    <a:pos x="585" y="193"/>
                  </a:cxn>
                  <a:cxn ang="0">
                    <a:pos x="560" y="228"/>
                  </a:cxn>
                </a:cxnLst>
                <a:rect l="0" t="0" r="r" b="b"/>
                <a:pathLst>
                  <a:path w="843" h="507">
                    <a:moveTo>
                      <a:pt x="565" y="240"/>
                    </a:moveTo>
                    <a:lnTo>
                      <a:pt x="555" y="266"/>
                    </a:lnTo>
                    <a:lnTo>
                      <a:pt x="552" y="275"/>
                    </a:lnTo>
                    <a:lnTo>
                      <a:pt x="552" y="286"/>
                    </a:lnTo>
                    <a:lnTo>
                      <a:pt x="555" y="296"/>
                    </a:lnTo>
                    <a:lnTo>
                      <a:pt x="543" y="306"/>
                    </a:lnTo>
                    <a:lnTo>
                      <a:pt x="533" y="320"/>
                    </a:lnTo>
                    <a:lnTo>
                      <a:pt x="528" y="326"/>
                    </a:lnTo>
                    <a:lnTo>
                      <a:pt x="517" y="331"/>
                    </a:lnTo>
                    <a:lnTo>
                      <a:pt x="513" y="346"/>
                    </a:lnTo>
                    <a:lnTo>
                      <a:pt x="507" y="349"/>
                    </a:lnTo>
                    <a:lnTo>
                      <a:pt x="485" y="349"/>
                    </a:lnTo>
                    <a:lnTo>
                      <a:pt x="472" y="366"/>
                    </a:lnTo>
                    <a:lnTo>
                      <a:pt x="472" y="378"/>
                    </a:lnTo>
                    <a:lnTo>
                      <a:pt x="463" y="387"/>
                    </a:lnTo>
                    <a:lnTo>
                      <a:pt x="468" y="398"/>
                    </a:lnTo>
                    <a:lnTo>
                      <a:pt x="470" y="407"/>
                    </a:lnTo>
                    <a:lnTo>
                      <a:pt x="460" y="413"/>
                    </a:lnTo>
                    <a:lnTo>
                      <a:pt x="452" y="413"/>
                    </a:lnTo>
                    <a:lnTo>
                      <a:pt x="443" y="413"/>
                    </a:lnTo>
                    <a:lnTo>
                      <a:pt x="432" y="418"/>
                    </a:lnTo>
                    <a:lnTo>
                      <a:pt x="427" y="427"/>
                    </a:lnTo>
                    <a:lnTo>
                      <a:pt x="419" y="433"/>
                    </a:lnTo>
                    <a:lnTo>
                      <a:pt x="413" y="441"/>
                    </a:lnTo>
                    <a:lnTo>
                      <a:pt x="408" y="447"/>
                    </a:lnTo>
                    <a:lnTo>
                      <a:pt x="352" y="459"/>
                    </a:lnTo>
                    <a:lnTo>
                      <a:pt x="332" y="461"/>
                    </a:lnTo>
                    <a:lnTo>
                      <a:pt x="325" y="467"/>
                    </a:lnTo>
                    <a:lnTo>
                      <a:pt x="312" y="472"/>
                    </a:lnTo>
                    <a:lnTo>
                      <a:pt x="303" y="479"/>
                    </a:lnTo>
                    <a:lnTo>
                      <a:pt x="295" y="486"/>
                    </a:lnTo>
                    <a:lnTo>
                      <a:pt x="290" y="494"/>
                    </a:lnTo>
                    <a:lnTo>
                      <a:pt x="287" y="506"/>
                    </a:lnTo>
                    <a:lnTo>
                      <a:pt x="228" y="476"/>
                    </a:lnTo>
                    <a:lnTo>
                      <a:pt x="219" y="476"/>
                    </a:lnTo>
                    <a:lnTo>
                      <a:pt x="199" y="472"/>
                    </a:lnTo>
                    <a:lnTo>
                      <a:pt x="186" y="471"/>
                    </a:lnTo>
                    <a:lnTo>
                      <a:pt x="172" y="463"/>
                    </a:lnTo>
                    <a:lnTo>
                      <a:pt x="146" y="441"/>
                    </a:lnTo>
                    <a:lnTo>
                      <a:pt x="139" y="438"/>
                    </a:lnTo>
                    <a:lnTo>
                      <a:pt x="130" y="431"/>
                    </a:lnTo>
                    <a:lnTo>
                      <a:pt x="133" y="418"/>
                    </a:lnTo>
                    <a:lnTo>
                      <a:pt x="141" y="400"/>
                    </a:lnTo>
                    <a:lnTo>
                      <a:pt x="141" y="389"/>
                    </a:lnTo>
                    <a:lnTo>
                      <a:pt x="139" y="373"/>
                    </a:lnTo>
                    <a:lnTo>
                      <a:pt x="133" y="363"/>
                    </a:lnTo>
                    <a:lnTo>
                      <a:pt x="130" y="349"/>
                    </a:lnTo>
                    <a:lnTo>
                      <a:pt x="130" y="336"/>
                    </a:lnTo>
                    <a:lnTo>
                      <a:pt x="130" y="326"/>
                    </a:lnTo>
                    <a:lnTo>
                      <a:pt x="130" y="313"/>
                    </a:lnTo>
                    <a:lnTo>
                      <a:pt x="133" y="293"/>
                    </a:lnTo>
                    <a:lnTo>
                      <a:pt x="133" y="281"/>
                    </a:lnTo>
                    <a:lnTo>
                      <a:pt x="130" y="271"/>
                    </a:lnTo>
                    <a:lnTo>
                      <a:pt x="130" y="256"/>
                    </a:lnTo>
                    <a:lnTo>
                      <a:pt x="130" y="246"/>
                    </a:lnTo>
                    <a:lnTo>
                      <a:pt x="133" y="236"/>
                    </a:lnTo>
                    <a:lnTo>
                      <a:pt x="130" y="224"/>
                    </a:lnTo>
                    <a:lnTo>
                      <a:pt x="125" y="211"/>
                    </a:lnTo>
                    <a:lnTo>
                      <a:pt x="101" y="191"/>
                    </a:lnTo>
                    <a:lnTo>
                      <a:pt x="85" y="171"/>
                    </a:lnTo>
                    <a:lnTo>
                      <a:pt x="73" y="166"/>
                    </a:lnTo>
                    <a:lnTo>
                      <a:pt x="63" y="160"/>
                    </a:lnTo>
                    <a:lnTo>
                      <a:pt x="37" y="135"/>
                    </a:lnTo>
                    <a:lnTo>
                      <a:pt x="33" y="124"/>
                    </a:lnTo>
                    <a:lnTo>
                      <a:pt x="33" y="110"/>
                    </a:lnTo>
                    <a:lnTo>
                      <a:pt x="28" y="97"/>
                    </a:lnTo>
                    <a:lnTo>
                      <a:pt x="21" y="91"/>
                    </a:lnTo>
                    <a:lnTo>
                      <a:pt x="10" y="88"/>
                    </a:lnTo>
                    <a:lnTo>
                      <a:pt x="0" y="78"/>
                    </a:lnTo>
                    <a:lnTo>
                      <a:pt x="0" y="71"/>
                    </a:lnTo>
                    <a:lnTo>
                      <a:pt x="55" y="71"/>
                    </a:lnTo>
                    <a:lnTo>
                      <a:pt x="55" y="18"/>
                    </a:lnTo>
                    <a:lnTo>
                      <a:pt x="370" y="10"/>
                    </a:lnTo>
                    <a:lnTo>
                      <a:pt x="533" y="6"/>
                    </a:lnTo>
                    <a:lnTo>
                      <a:pt x="832" y="0"/>
                    </a:lnTo>
                    <a:lnTo>
                      <a:pt x="814" y="3"/>
                    </a:lnTo>
                    <a:lnTo>
                      <a:pt x="805" y="6"/>
                    </a:lnTo>
                    <a:lnTo>
                      <a:pt x="827" y="50"/>
                    </a:lnTo>
                    <a:lnTo>
                      <a:pt x="820" y="58"/>
                    </a:lnTo>
                    <a:lnTo>
                      <a:pt x="819" y="71"/>
                    </a:lnTo>
                    <a:lnTo>
                      <a:pt x="820" y="78"/>
                    </a:lnTo>
                    <a:lnTo>
                      <a:pt x="830" y="88"/>
                    </a:lnTo>
                    <a:lnTo>
                      <a:pt x="832" y="95"/>
                    </a:lnTo>
                    <a:lnTo>
                      <a:pt x="839" y="100"/>
                    </a:lnTo>
                    <a:lnTo>
                      <a:pt x="842" y="111"/>
                    </a:lnTo>
                    <a:lnTo>
                      <a:pt x="835" y="117"/>
                    </a:lnTo>
                    <a:lnTo>
                      <a:pt x="832" y="130"/>
                    </a:lnTo>
                    <a:lnTo>
                      <a:pt x="832" y="131"/>
                    </a:lnTo>
                    <a:lnTo>
                      <a:pt x="827" y="131"/>
                    </a:lnTo>
                    <a:lnTo>
                      <a:pt x="820" y="130"/>
                    </a:lnTo>
                    <a:lnTo>
                      <a:pt x="812" y="124"/>
                    </a:lnTo>
                    <a:lnTo>
                      <a:pt x="792" y="130"/>
                    </a:lnTo>
                    <a:lnTo>
                      <a:pt x="783" y="130"/>
                    </a:lnTo>
                    <a:lnTo>
                      <a:pt x="777" y="124"/>
                    </a:lnTo>
                    <a:lnTo>
                      <a:pt x="768" y="120"/>
                    </a:lnTo>
                    <a:lnTo>
                      <a:pt x="759" y="120"/>
                    </a:lnTo>
                    <a:lnTo>
                      <a:pt x="734" y="130"/>
                    </a:lnTo>
                    <a:lnTo>
                      <a:pt x="720" y="138"/>
                    </a:lnTo>
                    <a:lnTo>
                      <a:pt x="717" y="144"/>
                    </a:lnTo>
                    <a:lnTo>
                      <a:pt x="699" y="144"/>
                    </a:lnTo>
                    <a:lnTo>
                      <a:pt x="692" y="140"/>
                    </a:lnTo>
                    <a:lnTo>
                      <a:pt x="677" y="135"/>
                    </a:lnTo>
                    <a:lnTo>
                      <a:pt x="672" y="131"/>
                    </a:lnTo>
                    <a:lnTo>
                      <a:pt x="663" y="130"/>
                    </a:lnTo>
                    <a:lnTo>
                      <a:pt x="654" y="135"/>
                    </a:lnTo>
                    <a:lnTo>
                      <a:pt x="648" y="144"/>
                    </a:lnTo>
                    <a:lnTo>
                      <a:pt x="645" y="150"/>
                    </a:lnTo>
                    <a:lnTo>
                      <a:pt x="632" y="155"/>
                    </a:lnTo>
                    <a:lnTo>
                      <a:pt x="620" y="158"/>
                    </a:lnTo>
                    <a:lnTo>
                      <a:pt x="608" y="170"/>
                    </a:lnTo>
                    <a:lnTo>
                      <a:pt x="600" y="188"/>
                    </a:lnTo>
                    <a:lnTo>
                      <a:pt x="585" y="193"/>
                    </a:lnTo>
                    <a:lnTo>
                      <a:pt x="565" y="215"/>
                    </a:lnTo>
                    <a:lnTo>
                      <a:pt x="560" y="228"/>
                    </a:lnTo>
                    <a:lnTo>
                      <a:pt x="565" y="240"/>
                    </a:lnTo>
                  </a:path>
                </a:pathLst>
              </a:custGeom>
              <a:solidFill>
                <a:srgbClr val="349D96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5" name="Freeform 16"/>
              <p:cNvSpPr>
                <a:spLocks/>
              </p:cNvSpPr>
              <p:nvPr/>
            </p:nvSpPr>
            <p:spPr bwMode="auto">
              <a:xfrm>
                <a:off x="5691112" y="4031756"/>
                <a:ext cx="370522" cy="574560"/>
              </a:xfrm>
              <a:custGeom>
                <a:avLst/>
                <a:gdLst/>
                <a:ahLst/>
                <a:cxnLst>
                  <a:cxn ang="0">
                    <a:pos x="314" y="61"/>
                  </a:cxn>
                  <a:cxn ang="0">
                    <a:pos x="308" y="41"/>
                  </a:cxn>
                  <a:cxn ang="0">
                    <a:pos x="290" y="37"/>
                  </a:cxn>
                  <a:cxn ang="0">
                    <a:pos x="274" y="26"/>
                  </a:cxn>
                  <a:cxn ang="0">
                    <a:pos x="267" y="10"/>
                  </a:cxn>
                  <a:cxn ang="0">
                    <a:pos x="250" y="0"/>
                  </a:cxn>
                  <a:cxn ang="0">
                    <a:pos x="230" y="21"/>
                  </a:cxn>
                  <a:cxn ang="0">
                    <a:pos x="207" y="21"/>
                  </a:cxn>
                  <a:cxn ang="0">
                    <a:pos x="179" y="26"/>
                  </a:cxn>
                  <a:cxn ang="0">
                    <a:pos x="159" y="26"/>
                  </a:cxn>
                  <a:cxn ang="0">
                    <a:pos x="140" y="10"/>
                  </a:cxn>
                  <a:cxn ang="0">
                    <a:pos x="110" y="3"/>
                  </a:cxn>
                  <a:cxn ang="0">
                    <a:pos x="70" y="12"/>
                  </a:cxn>
                  <a:cxn ang="0">
                    <a:pos x="63" y="32"/>
                  </a:cxn>
                  <a:cxn ang="0">
                    <a:pos x="55" y="52"/>
                  </a:cxn>
                  <a:cxn ang="0">
                    <a:pos x="39" y="72"/>
                  </a:cxn>
                  <a:cxn ang="0">
                    <a:pos x="21" y="80"/>
                  </a:cxn>
                  <a:cxn ang="0">
                    <a:pos x="5" y="137"/>
                  </a:cxn>
                  <a:cxn ang="0">
                    <a:pos x="85" y="212"/>
                  </a:cxn>
                  <a:cxn ang="0">
                    <a:pos x="99" y="237"/>
                  </a:cxn>
                  <a:cxn ang="0">
                    <a:pos x="117" y="277"/>
                  </a:cxn>
                  <a:cxn ang="0">
                    <a:pos x="132" y="290"/>
                  </a:cxn>
                  <a:cxn ang="0">
                    <a:pos x="173" y="328"/>
                  </a:cxn>
                  <a:cxn ang="0">
                    <a:pos x="193" y="637"/>
                  </a:cxn>
                  <a:cxn ang="0">
                    <a:pos x="274" y="520"/>
                  </a:cxn>
                  <a:cxn ang="0">
                    <a:pos x="307" y="360"/>
                  </a:cxn>
                  <a:cxn ang="0">
                    <a:pos x="317" y="285"/>
                  </a:cxn>
                  <a:cxn ang="0">
                    <a:pos x="342" y="270"/>
                  </a:cxn>
                  <a:cxn ang="0">
                    <a:pos x="429" y="252"/>
                  </a:cxn>
                  <a:cxn ang="0">
                    <a:pos x="419" y="201"/>
                  </a:cxn>
                  <a:cxn ang="0">
                    <a:pos x="424" y="175"/>
                  </a:cxn>
                  <a:cxn ang="0">
                    <a:pos x="415" y="153"/>
                  </a:cxn>
                  <a:cxn ang="0">
                    <a:pos x="406" y="137"/>
                  </a:cxn>
                  <a:cxn ang="0">
                    <a:pos x="384" y="120"/>
                  </a:cxn>
                  <a:cxn ang="0">
                    <a:pos x="374" y="105"/>
                  </a:cxn>
                  <a:cxn ang="0">
                    <a:pos x="348" y="101"/>
                  </a:cxn>
                  <a:cxn ang="0">
                    <a:pos x="334" y="85"/>
                  </a:cxn>
                  <a:cxn ang="0">
                    <a:pos x="317" y="75"/>
                  </a:cxn>
                </a:cxnLst>
                <a:rect l="0" t="0" r="r" b="b"/>
                <a:pathLst>
                  <a:path w="430" h="638">
                    <a:moveTo>
                      <a:pt x="314" y="65"/>
                    </a:moveTo>
                    <a:lnTo>
                      <a:pt x="314" y="61"/>
                    </a:lnTo>
                    <a:lnTo>
                      <a:pt x="314" y="50"/>
                    </a:lnTo>
                    <a:lnTo>
                      <a:pt x="308" y="41"/>
                    </a:lnTo>
                    <a:lnTo>
                      <a:pt x="299" y="37"/>
                    </a:lnTo>
                    <a:lnTo>
                      <a:pt x="290" y="37"/>
                    </a:lnTo>
                    <a:lnTo>
                      <a:pt x="282" y="33"/>
                    </a:lnTo>
                    <a:lnTo>
                      <a:pt x="274" y="26"/>
                    </a:lnTo>
                    <a:lnTo>
                      <a:pt x="270" y="17"/>
                    </a:lnTo>
                    <a:lnTo>
                      <a:pt x="267" y="10"/>
                    </a:lnTo>
                    <a:lnTo>
                      <a:pt x="259" y="0"/>
                    </a:lnTo>
                    <a:lnTo>
                      <a:pt x="250" y="0"/>
                    </a:lnTo>
                    <a:lnTo>
                      <a:pt x="240" y="6"/>
                    </a:lnTo>
                    <a:lnTo>
                      <a:pt x="230" y="21"/>
                    </a:lnTo>
                    <a:lnTo>
                      <a:pt x="217" y="21"/>
                    </a:lnTo>
                    <a:lnTo>
                      <a:pt x="207" y="21"/>
                    </a:lnTo>
                    <a:lnTo>
                      <a:pt x="199" y="21"/>
                    </a:lnTo>
                    <a:lnTo>
                      <a:pt x="179" y="26"/>
                    </a:lnTo>
                    <a:lnTo>
                      <a:pt x="168" y="30"/>
                    </a:lnTo>
                    <a:lnTo>
                      <a:pt x="159" y="26"/>
                    </a:lnTo>
                    <a:lnTo>
                      <a:pt x="152" y="23"/>
                    </a:lnTo>
                    <a:lnTo>
                      <a:pt x="140" y="10"/>
                    </a:lnTo>
                    <a:lnTo>
                      <a:pt x="132" y="3"/>
                    </a:lnTo>
                    <a:lnTo>
                      <a:pt x="110" y="3"/>
                    </a:lnTo>
                    <a:lnTo>
                      <a:pt x="100" y="6"/>
                    </a:lnTo>
                    <a:lnTo>
                      <a:pt x="70" y="12"/>
                    </a:lnTo>
                    <a:lnTo>
                      <a:pt x="65" y="21"/>
                    </a:lnTo>
                    <a:lnTo>
                      <a:pt x="63" y="32"/>
                    </a:lnTo>
                    <a:lnTo>
                      <a:pt x="60" y="43"/>
                    </a:lnTo>
                    <a:lnTo>
                      <a:pt x="55" y="52"/>
                    </a:lnTo>
                    <a:lnTo>
                      <a:pt x="52" y="61"/>
                    </a:lnTo>
                    <a:lnTo>
                      <a:pt x="39" y="72"/>
                    </a:lnTo>
                    <a:lnTo>
                      <a:pt x="32" y="75"/>
                    </a:lnTo>
                    <a:lnTo>
                      <a:pt x="21" y="80"/>
                    </a:lnTo>
                    <a:lnTo>
                      <a:pt x="3" y="80"/>
                    </a:lnTo>
                    <a:lnTo>
                      <a:pt x="5" y="137"/>
                    </a:lnTo>
                    <a:lnTo>
                      <a:pt x="0" y="220"/>
                    </a:lnTo>
                    <a:lnTo>
                      <a:pt x="85" y="212"/>
                    </a:lnTo>
                    <a:lnTo>
                      <a:pt x="86" y="237"/>
                    </a:lnTo>
                    <a:lnTo>
                      <a:pt x="99" y="237"/>
                    </a:lnTo>
                    <a:lnTo>
                      <a:pt x="100" y="277"/>
                    </a:lnTo>
                    <a:lnTo>
                      <a:pt x="117" y="277"/>
                    </a:lnTo>
                    <a:lnTo>
                      <a:pt x="117" y="290"/>
                    </a:lnTo>
                    <a:lnTo>
                      <a:pt x="132" y="290"/>
                    </a:lnTo>
                    <a:lnTo>
                      <a:pt x="132" y="330"/>
                    </a:lnTo>
                    <a:lnTo>
                      <a:pt x="173" y="328"/>
                    </a:lnTo>
                    <a:lnTo>
                      <a:pt x="175" y="368"/>
                    </a:lnTo>
                    <a:lnTo>
                      <a:pt x="193" y="637"/>
                    </a:lnTo>
                    <a:lnTo>
                      <a:pt x="277" y="632"/>
                    </a:lnTo>
                    <a:lnTo>
                      <a:pt x="274" y="520"/>
                    </a:lnTo>
                    <a:lnTo>
                      <a:pt x="314" y="518"/>
                    </a:lnTo>
                    <a:lnTo>
                      <a:pt x="307" y="360"/>
                    </a:lnTo>
                    <a:lnTo>
                      <a:pt x="302" y="285"/>
                    </a:lnTo>
                    <a:lnTo>
                      <a:pt x="317" y="285"/>
                    </a:lnTo>
                    <a:lnTo>
                      <a:pt x="317" y="270"/>
                    </a:lnTo>
                    <a:lnTo>
                      <a:pt x="342" y="270"/>
                    </a:lnTo>
                    <a:lnTo>
                      <a:pt x="344" y="255"/>
                    </a:lnTo>
                    <a:lnTo>
                      <a:pt x="429" y="252"/>
                    </a:lnTo>
                    <a:lnTo>
                      <a:pt x="426" y="207"/>
                    </a:lnTo>
                    <a:lnTo>
                      <a:pt x="419" y="201"/>
                    </a:lnTo>
                    <a:lnTo>
                      <a:pt x="419" y="190"/>
                    </a:lnTo>
                    <a:lnTo>
                      <a:pt x="424" y="175"/>
                    </a:lnTo>
                    <a:lnTo>
                      <a:pt x="419" y="163"/>
                    </a:lnTo>
                    <a:lnTo>
                      <a:pt x="415" y="153"/>
                    </a:lnTo>
                    <a:lnTo>
                      <a:pt x="410" y="147"/>
                    </a:lnTo>
                    <a:lnTo>
                      <a:pt x="406" y="137"/>
                    </a:lnTo>
                    <a:lnTo>
                      <a:pt x="402" y="128"/>
                    </a:lnTo>
                    <a:lnTo>
                      <a:pt x="384" y="120"/>
                    </a:lnTo>
                    <a:lnTo>
                      <a:pt x="379" y="108"/>
                    </a:lnTo>
                    <a:lnTo>
                      <a:pt x="374" y="105"/>
                    </a:lnTo>
                    <a:lnTo>
                      <a:pt x="357" y="105"/>
                    </a:lnTo>
                    <a:lnTo>
                      <a:pt x="348" y="101"/>
                    </a:lnTo>
                    <a:lnTo>
                      <a:pt x="339" y="95"/>
                    </a:lnTo>
                    <a:lnTo>
                      <a:pt x="334" y="85"/>
                    </a:lnTo>
                    <a:lnTo>
                      <a:pt x="324" y="80"/>
                    </a:lnTo>
                    <a:lnTo>
                      <a:pt x="317" y="75"/>
                    </a:lnTo>
                    <a:lnTo>
                      <a:pt x="314" y="65"/>
                    </a:lnTo>
                  </a:path>
                </a:pathLst>
              </a:custGeom>
              <a:solidFill>
                <a:srgbClr val="E8E8E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6" name="Freeform 17"/>
              <p:cNvSpPr>
                <a:spLocks/>
              </p:cNvSpPr>
              <p:nvPr/>
            </p:nvSpPr>
            <p:spPr bwMode="auto">
              <a:xfrm>
                <a:off x="4430504" y="3036632"/>
                <a:ext cx="608345" cy="1093284"/>
              </a:xfrm>
              <a:custGeom>
                <a:avLst/>
                <a:gdLst/>
                <a:ahLst/>
                <a:cxnLst>
                  <a:cxn ang="0">
                    <a:pos x="60" y="1086"/>
                  </a:cxn>
                  <a:cxn ang="0">
                    <a:pos x="77" y="1046"/>
                  </a:cxn>
                  <a:cxn ang="0">
                    <a:pos x="50" y="976"/>
                  </a:cxn>
                  <a:cxn ang="0">
                    <a:pos x="33" y="896"/>
                  </a:cxn>
                  <a:cxn ang="0">
                    <a:pos x="23" y="861"/>
                  </a:cxn>
                  <a:cxn ang="0">
                    <a:pos x="0" y="817"/>
                  </a:cxn>
                  <a:cxn ang="0">
                    <a:pos x="6" y="783"/>
                  </a:cxn>
                  <a:cxn ang="0">
                    <a:pos x="23" y="766"/>
                  </a:cxn>
                  <a:cxn ang="0">
                    <a:pos x="19" y="736"/>
                  </a:cxn>
                  <a:cxn ang="0">
                    <a:pos x="19" y="697"/>
                  </a:cxn>
                  <a:cxn ang="0">
                    <a:pos x="23" y="589"/>
                  </a:cxn>
                  <a:cxn ang="0">
                    <a:pos x="46" y="574"/>
                  </a:cxn>
                  <a:cxn ang="0">
                    <a:pos x="63" y="549"/>
                  </a:cxn>
                  <a:cxn ang="0">
                    <a:pos x="90" y="521"/>
                  </a:cxn>
                  <a:cxn ang="0">
                    <a:pos x="102" y="481"/>
                  </a:cxn>
                  <a:cxn ang="0">
                    <a:pos x="329" y="475"/>
                  </a:cxn>
                  <a:cxn ang="0">
                    <a:pos x="342" y="382"/>
                  </a:cxn>
                  <a:cxn ang="0">
                    <a:pos x="369" y="370"/>
                  </a:cxn>
                  <a:cxn ang="0">
                    <a:pos x="382" y="345"/>
                  </a:cxn>
                  <a:cxn ang="0">
                    <a:pos x="411" y="330"/>
                  </a:cxn>
                  <a:cxn ang="0">
                    <a:pos x="451" y="305"/>
                  </a:cxn>
                  <a:cxn ang="0">
                    <a:pos x="479" y="268"/>
                  </a:cxn>
                  <a:cxn ang="0">
                    <a:pos x="493" y="199"/>
                  </a:cxn>
                  <a:cxn ang="0">
                    <a:pos x="521" y="173"/>
                  </a:cxn>
                  <a:cxn ang="0">
                    <a:pos x="533" y="125"/>
                  </a:cxn>
                  <a:cxn ang="0">
                    <a:pos x="546" y="68"/>
                  </a:cxn>
                  <a:cxn ang="0">
                    <a:pos x="573" y="41"/>
                  </a:cxn>
                  <a:cxn ang="0">
                    <a:pos x="603" y="13"/>
                  </a:cxn>
                  <a:cxn ang="0">
                    <a:pos x="682" y="10"/>
                  </a:cxn>
                  <a:cxn ang="0">
                    <a:pos x="695" y="407"/>
                  </a:cxn>
                  <a:cxn ang="0">
                    <a:pos x="700" y="789"/>
                  </a:cxn>
                  <a:cxn ang="0">
                    <a:pos x="448" y="948"/>
                  </a:cxn>
                  <a:cxn ang="0">
                    <a:pos x="396" y="1159"/>
                  </a:cxn>
                  <a:cxn ang="0">
                    <a:pos x="382" y="1139"/>
                  </a:cxn>
                  <a:cxn ang="0">
                    <a:pos x="355" y="1116"/>
                  </a:cxn>
                  <a:cxn ang="0">
                    <a:pos x="306" y="1174"/>
                  </a:cxn>
                  <a:cxn ang="0">
                    <a:pos x="281" y="1194"/>
                  </a:cxn>
                  <a:cxn ang="0">
                    <a:pos x="217" y="1190"/>
                  </a:cxn>
                  <a:cxn ang="0">
                    <a:pos x="170" y="1206"/>
                  </a:cxn>
                  <a:cxn ang="0">
                    <a:pos x="127" y="1213"/>
                  </a:cxn>
                  <a:cxn ang="0">
                    <a:pos x="93" y="1205"/>
                  </a:cxn>
                  <a:cxn ang="0">
                    <a:pos x="73" y="1178"/>
                  </a:cxn>
                  <a:cxn ang="0">
                    <a:pos x="46" y="1123"/>
                  </a:cxn>
                  <a:cxn ang="0">
                    <a:pos x="46" y="1098"/>
                  </a:cxn>
                </a:cxnLst>
                <a:rect l="0" t="0" r="r" b="b"/>
                <a:pathLst>
                  <a:path w="706" h="1214">
                    <a:moveTo>
                      <a:pt x="46" y="1098"/>
                    </a:moveTo>
                    <a:lnTo>
                      <a:pt x="52" y="1094"/>
                    </a:lnTo>
                    <a:lnTo>
                      <a:pt x="60" y="1086"/>
                    </a:lnTo>
                    <a:lnTo>
                      <a:pt x="68" y="1078"/>
                    </a:lnTo>
                    <a:lnTo>
                      <a:pt x="75" y="1063"/>
                    </a:lnTo>
                    <a:lnTo>
                      <a:pt x="77" y="1046"/>
                    </a:lnTo>
                    <a:lnTo>
                      <a:pt x="73" y="1034"/>
                    </a:lnTo>
                    <a:lnTo>
                      <a:pt x="52" y="1004"/>
                    </a:lnTo>
                    <a:lnTo>
                      <a:pt x="50" y="976"/>
                    </a:lnTo>
                    <a:lnTo>
                      <a:pt x="52" y="948"/>
                    </a:lnTo>
                    <a:lnTo>
                      <a:pt x="50" y="931"/>
                    </a:lnTo>
                    <a:lnTo>
                      <a:pt x="33" y="896"/>
                    </a:lnTo>
                    <a:lnTo>
                      <a:pt x="25" y="883"/>
                    </a:lnTo>
                    <a:lnTo>
                      <a:pt x="25" y="874"/>
                    </a:lnTo>
                    <a:lnTo>
                      <a:pt x="23" y="861"/>
                    </a:lnTo>
                    <a:lnTo>
                      <a:pt x="19" y="843"/>
                    </a:lnTo>
                    <a:lnTo>
                      <a:pt x="3" y="826"/>
                    </a:lnTo>
                    <a:lnTo>
                      <a:pt x="0" y="817"/>
                    </a:lnTo>
                    <a:lnTo>
                      <a:pt x="0" y="804"/>
                    </a:lnTo>
                    <a:lnTo>
                      <a:pt x="1" y="794"/>
                    </a:lnTo>
                    <a:lnTo>
                      <a:pt x="6" y="783"/>
                    </a:lnTo>
                    <a:lnTo>
                      <a:pt x="12" y="777"/>
                    </a:lnTo>
                    <a:lnTo>
                      <a:pt x="19" y="772"/>
                    </a:lnTo>
                    <a:lnTo>
                      <a:pt x="23" y="766"/>
                    </a:lnTo>
                    <a:lnTo>
                      <a:pt x="23" y="754"/>
                    </a:lnTo>
                    <a:lnTo>
                      <a:pt x="23" y="744"/>
                    </a:lnTo>
                    <a:lnTo>
                      <a:pt x="19" y="736"/>
                    </a:lnTo>
                    <a:lnTo>
                      <a:pt x="17" y="724"/>
                    </a:lnTo>
                    <a:lnTo>
                      <a:pt x="23" y="710"/>
                    </a:lnTo>
                    <a:lnTo>
                      <a:pt x="19" y="697"/>
                    </a:lnTo>
                    <a:lnTo>
                      <a:pt x="23" y="689"/>
                    </a:lnTo>
                    <a:lnTo>
                      <a:pt x="19" y="677"/>
                    </a:lnTo>
                    <a:lnTo>
                      <a:pt x="23" y="589"/>
                    </a:lnTo>
                    <a:lnTo>
                      <a:pt x="33" y="589"/>
                    </a:lnTo>
                    <a:lnTo>
                      <a:pt x="33" y="574"/>
                    </a:lnTo>
                    <a:lnTo>
                      <a:pt x="46" y="574"/>
                    </a:lnTo>
                    <a:lnTo>
                      <a:pt x="46" y="562"/>
                    </a:lnTo>
                    <a:lnTo>
                      <a:pt x="63" y="562"/>
                    </a:lnTo>
                    <a:lnTo>
                      <a:pt x="63" y="549"/>
                    </a:lnTo>
                    <a:lnTo>
                      <a:pt x="75" y="549"/>
                    </a:lnTo>
                    <a:lnTo>
                      <a:pt x="75" y="521"/>
                    </a:lnTo>
                    <a:lnTo>
                      <a:pt x="90" y="521"/>
                    </a:lnTo>
                    <a:lnTo>
                      <a:pt x="90" y="507"/>
                    </a:lnTo>
                    <a:lnTo>
                      <a:pt x="102" y="507"/>
                    </a:lnTo>
                    <a:lnTo>
                      <a:pt x="102" y="481"/>
                    </a:lnTo>
                    <a:lnTo>
                      <a:pt x="287" y="475"/>
                    </a:lnTo>
                    <a:lnTo>
                      <a:pt x="307" y="475"/>
                    </a:lnTo>
                    <a:lnTo>
                      <a:pt x="329" y="475"/>
                    </a:lnTo>
                    <a:lnTo>
                      <a:pt x="329" y="397"/>
                    </a:lnTo>
                    <a:lnTo>
                      <a:pt x="342" y="397"/>
                    </a:lnTo>
                    <a:lnTo>
                      <a:pt x="342" y="382"/>
                    </a:lnTo>
                    <a:lnTo>
                      <a:pt x="355" y="382"/>
                    </a:lnTo>
                    <a:lnTo>
                      <a:pt x="355" y="370"/>
                    </a:lnTo>
                    <a:lnTo>
                      <a:pt x="369" y="370"/>
                    </a:lnTo>
                    <a:lnTo>
                      <a:pt x="369" y="357"/>
                    </a:lnTo>
                    <a:lnTo>
                      <a:pt x="382" y="357"/>
                    </a:lnTo>
                    <a:lnTo>
                      <a:pt x="382" y="345"/>
                    </a:lnTo>
                    <a:lnTo>
                      <a:pt x="397" y="345"/>
                    </a:lnTo>
                    <a:lnTo>
                      <a:pt x="397" y="330"/>
                    </a:lnTo>
                    <a:lnTo>
                      <a:pt x="411" y="330"/>
                    </a:lnTo>
                    <a:lnTo>
                      <a:pt x="411" y="317"/>
                    </a:lnTo>
                    <a:lnTo>
                      <a:pt x="451" y="317"/>
                    </a:lnTo>
                    <a:lnTo>
                      <a:pt x="451" y="305"/>
                    </a:lnTo>
                    <a:lnTo>
                      <a:pt x="466" y="305"/>
                    </a:lnTo>
                    <a:lnTo>
                      <a:pt x="466" y="268"/>
                    </a:lnTo>
                    <a:lnTo>
                      <a:pt x="479" y="268"/>
                    </a:lnTo>
                    <a:lnTo>
                      <a:pt x="479" y="213"/>
                    </a:lnTo>
                    <a:lnTo>
                      <a:pt x="493" y="213"/>
                    </a:lnTo>
                    <a:lnTo>
                      <a:pt x="493" y="199"/>
                    </a:lnTo>
                    <a:lnTo>
                      <a:pt x="508" y="193"/>
                    </a:lnTo>
                    <a:lnTo>
                      <a:pt x="509" y="173"/>
                    </a:lnTo>
                    <a:lnTo>
                      <a:pt x="521" y="173"/>
                    </a:lnTo>
                    <a:lnTo>
                      <a:pt x="519" y="148"/>
                    </a:lnTo>
                    <a:lnTo>
                      <a:pt x="533" y="148"/>
                    </a:lnTo>
                    <a:lnTo>
                      <a:pt x="533" y="125"/>
                    </a:lnTo>
                    <a:lnTo>
                      <a:pt x="531" y="90"/>
                    </a:lnTo>
                    <a:lnTo>
                      <a:pt x="531" y="68"/>
                    </a:lnTo>
                    <a:lnTo>
                      <a:pt x="546" y="68"/>
                    </a:lnTo>
                    <a:lnTo>
                      <a:pt x="546" y="53"/>
                    </a:lnTo>
                    <a:lnTo>
                      <a:pt x="573" y="53"/>
                    </a:lnTo>
                    <a:lnTo>
                      <a:pt x="573" y="41"/>
                    </a:lnTo>
                    <a:lnTo>
                      <a:pt x="588" y="41"/>
                    </a:lnTo>
                    <a:lnTo>
                      <a:pt x="588" y="13"/>
                    </a:lnTo>
                    <a:lnTo>
                      <a:pt x="603" y="13"/>
                    </a:lnTo>
                    <a:lnTo>
                      <a:pt x="600" y="0"/>
                    </a:lnTo>
                    <a:lnTo>
                      <a:pt x="682" y="0"/>
                    </a:lnTo>
                    <a:lnTo>
                      <a:pt x="682" y="10"/>
                    </a:lnTo>
                    <a:lnTo>
                      <a:pt x="686" y="13"/>
                    </a:lnTo>
                    <a:lnTo>
                      <a:pt x="688" y="92"/>
                    </a:lnTo>
                    <a:lnTo>
                      <a:pt x="695" y="407"/>
                    </a:lnTo>
                    <a:lnTo>
                      <a:pt x="698" y="630"/>
                    </a:lnTo>
                    <a:lnTo>
                      <a:pt x="698" y="704"/>
                    </a:lnTo>
                    <a:lnTo>
                      <a:pt x="700" y="789"/>
                    </a:lnTo>
                    <a:lnTo>
                      <a:pt x="705" y="944"/>
                    </a:lnTo>
                    <a:lnTo>
                      <a:pt x="529" y="948"/>
                    </a:lnTo>
                    <a:lnTo>
                      <a:pt x="448" y="948"/>
                    </a:lnTo>
                    <a:lnTo>
                      <a:pt x="451" y="1106"/>
                    </a:lnTo>
                    <a:lnTo>
                      <a:pt x="451" y="1159"/>
                    </a:lnTo>
                    <a:lnTo>
                      <a:pt x="396" y="1159"/>
                    </a:lnTo>
                    <a:lnTo>
                      <a:pt x="397" y="1154"/>
                    </a:lnTo>
                    <a:lnTo>
                      <a:pt x="389" y="1148"/>
                    </a:lnTo>
                    <a:lnTo>
                      <a:pt x="382" y="1139"/>
                    </a:lnTo>
                    <a:lnTo>
                      <a:pt x="374" y="1128"/>
                    </a:lnTo>
                    <a:lnTo>
                      <a:pt x="362" y="1123"/>
                    </a:lnTo>
                    <a:lnTo>
                      <a:pt x="355" y="1116"/>
                    </a:lnTo>
                    <a:lnTo>
                      <a:pt x="346" y="1123"/>
                    </a:lnTo>
                    <a:lnTo>
                      <a:pt x="341" y="1134"/>
                    </a:lnTo>
                    <a:lnTo>
                      <a:pt x="306" y="1174"/>
                    </a:lnTo>
                    <a:lnTo>
                      <a:pt x="295" y="1183"/>
                    </a:lnTo>
                    <a:lnTo>
                      <a:pt x="287" y="1188"/>
                    </a:lnTo>
                    <a:lnTo>
                      <a:pt x="281" y="1194"/>
                    </a:lnTo>
                    <a:lnTo>
                      <a:pt x="255" y="1198"/>
                    </a:lnTo>
                    <a:lnTo>
                      <a:pt x="241" y="1190"/>
                    </a:lnTo>
                    <a:lnTo>
                      <a:pt x="217" y="1190"/>
                    </a:lnTo>
                    <a:lnTo>
                      <a:pt x="195" y="1205"/>
                    </a:lnTo>
                    <a:lnTo>
                      <a:pt x="182" y="1205"/>
                    </a:lnTo>
                    <a:lnTo>
                      <a:pt x="170" y="1206"/>
                    </a:lnTo>
                    <a:lnTo>
                      <a:pt x="159" y="1210"/>
                    </a:lnTo>
                    <a:lnTo>
                      <a:pt x="148" y="1213"/>
                    </a:lnTo>
                    <a:lnTo>
                      <a:pt x="127" y="1213"/>
                    </a:lnTo>
                    <a:lnTo>
                      <a:pt x="113" y="1210"/>
                    </a:lnTo>
                    <a:lnTo>
                      <a:pt x="102" y="1206"/>
                    </a:lnTo>
                    <a:lnTo>
                      <a:pt x="93" y="1205"/>
                    </a:lnTo>
                    <a:lnTo>
                      <a:pt x="88" y="1190"/>
                    </a:lnTo>
                    <a:lnTo>
                      <a:pt x="83" y="1183"/>
                    </a:lnTo>
                    <a:lnTo>
                      <a:pt x="73" y="1178"/>
                    </a:lnTo>
                    <a:lnTo>
                      <a:pt x="68" y="1171"/>
                    </a:lnTo>
                    <a:lnTo>
                      <a:pt x="50" y="1130"/>
                    </a:lnTo>
                    <a:lnTo>
                      <a:pt x="46" y="1123"/>
                    </a:lnTo>
                    <a:lnTo>
                      <a:pt x="46" y="1114"/>
                    </a:lnTo>
                    <a:lnTo>
                      <a:pt x="46" y="1106"/>
                    </a:lnTo>
                    <a:lnTo>
                      <a:pt x="46" y="1098"/>
                    </a:lnTo>
                  </a:path>
                </a:pathLst>
              </a:custGeom>
              <a:solidFill>
                <a:srgbClr val="E8E8E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7" name="Freeform 18"/>
              <p:cNvSpPr>
                <a:spLocks/>
              </p:cNvSpPr>
              <p:nvPr/>
            </p:nvSpPr>
            <p:spPr bwMode="auto">
              <a:xfrm>
                <a:off x="1972967" y="3349128"/>
                <a:ext cx="669524" cy="626793"/>
              </a:xfrm>
              <a:custGeom>
                <a:avLst/>
                <a:gdLst/>
                <a:ahLst/>
                <a:cxnLst>
                  <a:cxn ang="0">
                    <a:pos x="564" y="267"/>
                  </a:cxn>
                  <a:cxn ang="0">
                    <a:pos x="641" y="424"/>
                  </a:cxn>
                  <a:cxn ang="0">
                    <a:pos x="753" y="428"/>
                  </a:cxn>
                  <a:cxn ang="0">
                    <a:pos x="748" y="506"/>
                  </a:cxn>
                  <a:cxn ang="0">
                    <a:pos x="776" y="510"/>
                  </a:cxn>
                  <a:cxn ang="0">
                    <a:pos x="769" y="695"/>
                  </a:cxn>
                  <a:cxn ang="0">
                    <a:pos x="526" y="685"/>
                  </a:cxn>
                  <a:cxn ang="0">
                    <a:pos x="143" y="672"/>
                  </a:cxn>
                  <a:cxn ang="0">
                    <a:pos x="132" y="603"/>
                  </a:cxn>
                  <a:cxn ang="0">
                    <a:pos x="123" y="573"/>
                  </a:cxn>
                  <a:cxn ang="0">
                    <a:pos x="128" y="573"/>
                  </a:cxn>
                  <a:cxn ang="0">
                    <a:pos x="143" y="573"/>
                  </a:cxn>
                  <a:cxn ang="0">
                    <a:pos x="152" y="585"/>
                  </a:cxn>
                  <a:cxn ang="0">
                    <a:pos x="160" y="612"/>
                  </a:cxn>
                  <a:cxn ang="0">
                    <a:pos x="175" y="600"/>
                  </a:cxn>
                  <a:cxn ang="0">
                    <a:pos x="185" y="583"/>
                  </a:cxn>
                  <a:cxn ang="0">
                    <a:pos x="208" y="568"/>
                  </a:cxn>
                  <a:cxn ang="0">
                    <a:pos x="222" y="559"/>
                  </a:cxn>
                  <a:cxn ang="0">
                    <a:pos x="297" y="545"/>
                  </a:cxn>
                  <a:cxn ang="0">
                    <a:pos x="295" y="523"/>
                  </a:cxn>
                  <a:cxn ang="0">
                    <a:pos x="262" y="516"/>
                  </a:cxn>
                  <a:cxn ang="0">
                    <a:pos x="244" y="503"/>
                  </a:cxn>
                  <a:cxn ang="0">
                    <a:pos x="222" y="506"/>
                  </a:cxn>
                  <a:cxn ang="0">
                    <a:pos x="208" y="492"/>
                  </a:cxn>
                  <a:cxn ang="0">
                    <a:pos x="207" y="474"/>
                  </a:cxn>
                  <a:cxn ang="0">
                    <a:pos x="190" y="458"/>
                  </a:cxn>
                  <a:cxn ang="0">
                    <a:pos x="175" y="448"/>
                  </a:cxn>
                  <a:cxn ang="0">
                    <a:pos x="139" y="448"/>
                  </a:cxn>
                  <a:cxn ang="0">
                    <a:pos x="120" y="458"/>
                  </a:cxn>
                  <a:cxn ang="0">
                    <a:pos x="123" y="478"/>
                  </a:cxn>
                  <a:cxn ang="0">
                    <a:pos x="123" y="503"/>
                  </a:cxn>
                  <a:cxn ang="0">
                    <a:pos x="128" y="526"/>
                  </a:cxn>
                  <a:cxn ang="0">
                    <a:pos x="120" y="539"/>
                  </a:cxn>
                  <a:cxn ang="0">
                    <a:pos x="92" y="550"/>
                  </a:cxn>
                  <a:cxn ang="0">
                    <a:pos x="106" y="466"/>
                  </a:cxn>
                  <a:cxn ang="0">
                    <a:pos x="83" y="267"/>
                  </a:cxn>
                  <a:cxn ang="0">
                    <a:pos x="70" y="217"/>
                  </a:cxn>
                  <a:cxn ang="0">
                    <a:pos x="41" y="214"/>
                  </a:cxn>
                  <a:cxn ang="0">
                    <a:pos x="37" y="179"/>
                  </a:cxn>
                  <a:cxn ang="0">
                    <a:pos x="30" y="165"/>
                  </a:cxn>
                  <a:cxn ang="0">
                    <a:pos x="17" y="145"/>
                  </a:cxn>
                  <a:cxn ang="0">
                    <a:pos x="17" y="125"/>
                  </a:cxn>
                  <a:cxn ang="0">
                    <a:pos x="0" y="110"/>
                  </a:cxn>
                  <a:cxn ang="0">
                    <a:pos x="8" y="87"/>
                  </a:cxn>
                  <a:cxn ang="0">
                    <a:pos x="8" y="65"/>
                  </a:cxn>
                  <a:cxn ang="0">
                    <a:pos x="5" y="0"/>
                  </a:cxn>
                  <a:cxn ang="0">
                    <a:pos x="541" y="32"/>
                  </a:cxn>
                  <a:cxn ang="0">
                    <a:pos x="555" y="267"/>
                  </a:cxn>
                </a:cxnLst>
                <a:rect l="0" t="0" r="r" b="b"/>
                <a:pathLst>
                  <a:path w="777" h="696">
                    <a:moveTo>
                      <a:pt x="555" y="267"/>
                    </a:moveTo>
                    <a:lnTo>
                      <a:pt x="564" y="267"/>
                    </a:lnTo>
                    <a:lnTo>
                      <a:pt x="561" y="424"/>
                    </a:lnTo>
                    <a:lnTo>
                      <a:pt x="641" y="424"/>
                    </a:lnTo>
                    <a:lnTo>
                      <a:pt x="671" y="428"/>
                    </a:lnTo>
                    <a:lnTo>
                      <a:pt x="753" y="428"/>
                    </a:lnTo>
                    <a:lnTo>
                      <a:pt x="748" y="492"/>
                    </a:lnTo>
                    <a:lnTo>
                      <a:pt x="748" y="506"/>
                    </a:lnTo>
                    <a:lnTo>
                      <a:pt x="757" y="510"/>
                    </a:lnTo>
                    <a:lnTo>
                      <a:pt x="776" y="510"/>
                    </a:lnTo>
                    <a:lnTo>
                      <a:pt x="773" y="600"/>
                    </a:lnTo>
                    <a:lnTo>
                      <a:pt x="769" y="695"/>
                    </a:lnTo>
                    <a:lnTo>
                      <a:pt x="629" y="690"/>
                    </a:lnTo>
                    <a:lnTo>
                      <a:pt x="526" y="685"/>
                    </a:lnTo>
                    <a:lnTo>
                      <a:pt x="315" y="678"/>
                    </a:lnTo>
                    <a:lnTo>
                      <a:pt x="143" y="672"/>
                    </a:lnTo>
                    <a:lnTo>
                      <a:pt x="139" y="628"/>
                    </a:lnTo>
                    <a:lnTo>
                      <a:pt x="132" y="603"/>
                    </a:lnTo>
                    <a:lnTo>
                      <a:pt x="128" y="588"/>
                    </a:lnTo>
                    <a:lnTo>
                      <a:pt x="123" y="573"/>
                    </a:lnTo>
                    <a:lnTo>
                      <a:pt x="112" y="568"/>
                    </a:lnTo>
                    <a:lnTo>
                      <a:pt x="128" y="573"/>
                    </a:lnTo>
                    <a:lnTo>
                      <a:pt x="135" y="563"/>
                    </a:lnTo>
                    <a:lnTo>
                      <a:pt x="143" y="573"/>
                    </a:lnTo>
                    <a:lnTo>
                      <a:pt x="152" y="574"/>
                    </a:lnTo>
                    <a:lnTo>
                      <a:pt x="152" y="585"/>
                    </a:lnTo>
                    <a:lnTo>
                      <a:pt x="153" y="600"/>
                    </a:lnTo>
                    <a:lnTo>
                      <a:pt x="160" y="612"/>
                    </a:lnTo>
                    <a:lnTo>
                      <a:pt x="172" y="608"/>
                    </a:lnTo>
                    <a:lnTo>
                      <a:pt x="175" y="600"/>
                    </a:lnTo>
                    <a:lnTo>
                      <a:pt x="179" y="588"/>
                    </a:lnTo>
                    <a:lnTo>
                      <a:pt x="185" y="583"/>
                    </a:lnTo>
                    <a:lnTo>
                      <a:pt x="197" y="576"/>
                    </a:lnTo>
                    <a:lnTo>
                      <a:pt x="208" y="568"/>
                    </a:lnTo>
                    <a:lnTo>
                      <a:pt x="217" y="565"/>
                    </a:lnTo>
                    <a:lnTo>
                      <a:pt x="222" y="559"/>
                    </a:lnTo>
                    <a:lnTo>
                      <a:pt x="240" y="559"/>
                    </a:lnTo>
                    <a:lnTo>
                      <a:pt x="297" y="545"/>
                    </a:lnTo>
                    <a:lnTo>
                      <a:pt x="302" y="526"/>
                    </a:lnTo>
                    <a:lnTo>
                      <a:pt x="295" y="523"/>
                    </a:lnTo>
                    <a:lnTo>
                      <a:pt x="280" y="518"/>
                    </a:lnTo>
                    <a:lnTo>
                      <a:pt x="262" y="516"/>
                    </a:lnTo>
                    <a:lnTo>
                      <a:pt x="253" y="518"/>
                    </a:lnTo>
                    <a:lnTo>
                      <a:pt x="244" y="503"/>
                    </a:lnTo>
                    <a:lnTo>
                      <a:pt x="232" y="503"/>
                    </a:lnTo>
                    <a:lnTo>
                      <a:pt x="222" y="506"/>
                    </a:lnTo>
                    <a:lnTo>
                      <a:pt x="208" y="501"/>
                    </a:lnTo>
                    <a:lnTo>
                      <a:pt x="208" y="492"/>
                    </a:lnTo>
                    <a:lnTo>
                      <a:pt x="212" y="485"/>
                    </a:lnTo>
                    <a:lnTo>
                      <a:pt x="207" y="474"/>
                    </a:lnTo>
                    <a:lnTo>
                      <a:pt x="202" y="466"/>
                    </a:lnTo>
                    <a:lnTo>
                      <a:pt x="190" y="458"/>
                    </a:lnTo>
                    <a:lnTo>
                      <a:pt x="182" y="452"/>
                    </a:lnTo>
                    <a:lnTo>
                      <a:pt x="175" y="448"/>
                    </a:lnTo>
                    <a:lnTo>
                      <a:pt x="152" y="444"/>
                    </a:lnTo>
                    <a:lnTo>
                      <a:pt x="139" y="448"/>
                    </a:lnTo>
                    <a:lnTo>
                      <a:pt x="126" y="452"/>
                    </a:lnTo>
                    <a:lnTo>
                      <a:pt x="120" y="458"/>
                    </a:lnTo>
                    <a:lnTo>
                      <a:pt x="120" y="468"/>
                    </a:lnTo>
                    <a:lnTo>
                      <a:pt x="123" y="478"/>
                    </a:lnTo>
                    <a:lnTo>
                      <a:pt x="123" y="491"/>
                    </a:lnTo>
                    <a:lnTo>
                      <a:pt x="123" y="503"/>
                    </a:lnTo>
                    <a:lnTo>
                      <a:pt x="128" y="516"/>
                    </a:lnTo>
                    <a:lnTo>
                      <a:pt x="128" y="526"/>
                    </a:lnTo>
                    <a:lnTo>
                      <a:pt x="130" y="536"/>
                    </a:lnTo>
                    <a:lnTo>
                      <a:pt x="120" y="539"/>
                    </a:lnTo>
                    <a:lnTo>
                      <a:pt x="113" y="545"/>
                    </a:lnTo>
                    <a:lnTo>
                      <a:pt x="92" y="550"/>
                    </a:lnTo>
                    <a:lnTo>
                      <a:pt x="103" y="518"/>
                    </a:lnTo>
                    <a:lnTo>
                      <a:pt x="106" y="466"/>
                    </a:lnTo>
                    <a:lnTo>
                      <a:pt x="99" y="363"/>
                    </a:lnTo>
                    <a:lnTo>
                      <a:pt x="83" y="267"/>
                    </a:lnTo>
                    <a:lnTo>
                      <a:pt x="75" y="225"/>
                    </a:lnTo>
                    <a:lnTo>
                      <a:pt x="70" y="217"/>
                    </a:lnTo>
                    <a:lnTo>
                      <a:pt x="65" y="210"/>
                    </a:lnTo>
                    <a:lnTo>
                      <a:pt x="41" y="214"/>
                    </a:lnTo>
                    <a:lnTo>
                      <a:pt x="45" y="205"/>
                    </a:lnTo>
                    <a:lnTo>
                      <a:pt x="37" y="179"/>
                    </a:lnTo>
                    <a:lnTo>
                      <a:pt x="35" y="170"/>
                    </a:lnTo>
                    <a:lnTo>
                      <a:pt x="30" y="165"/>
                    </a:lnTo>
                    <a:lnTo>
                      <a:pt x="19" y="162"/>
                    </a:lnTo>
                    <a:lnTo>
                      <a:pt x="17" y="145"/>
                    </a:lnTo>
                    <a:lnTo>
                      <a:pt x="17" y="135"/>
                    </a:lnTo>
                    <a:lnTo>
                      <a:pt x="17" y="125"/>
                    </a:lnTo>
                    <a:lnTo>
                      <a:pt x="12" y="115"/>
                    </a:lnTo>
                    <a:lnTo>
                      <a:pt x="0" y="110"/>
                    </a:lnTo>
                    <a:lnTo>
                      <a:pt x="10" y="97"/>
                    </a:lnTo>
                    <a:lnTo>
                      <a:pt x="8" y="87"/>
                    </a:lnTo>
                    <a:lnTo>
                      <a:pt x="10" y="75"/>
                    </a:lnTo>
                    <a:lnTo>
                      <a:pt x="8" y="65"/>
                    </a:lnTo>
                    <a:lnTo>
                      <a:pt x="10" y="52"/>
                    </a:lnTo>
                    <a:lnTo>
                      <a:pt x="5" y="0"/>
                    </a:lnTo>
                    <a:lnTo>
                      <a:pt x="148" y="8"/>
                    </a:lnTo>
                    <a:lnTo>
                      <a:pt x="541" y="32"/>
                    </a:lnTo>
                    <a:lnTo>
                      <a:pt x="564" y="33"/>
                    </a:lnTo>
                    <a:lnTo>
                      <a:pt x="555" y="267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8" name="Freeform 19"/>
              <p:cNvSpPr>
                <a:spLocks/>
              </p:cNvSpPr>
              <p:nvPr/>
            </p:nvSpPr>
            <p:spPr bwMode="auto">
              <a:xfrm>
                <a:off x="3622221" y="3343725"/>
                <a:ext cx="880636" cy="694334"/>
              </a:xfrm>
              <a:custGeom>
                <a:avLst/>
                <a:gdLst/>
                <a:ahLst/>
                <a:cxnLst>
                  <a:cxn ang="0">
                    <a:pos x="50" y="450"/>
                  </a:cxn>
                  <a:cxn ang="0">
                    <a:pos x="37" y="425"/>
                  </a:cxn>
                  <a:cxn ang="0">
                    <a:pos x="80" y="415"/>
                  </a:cxn>
                  <a:cxn ang="0">
                    <a:pos x="100" y="392"/>
                  </a:cxn>
                  <a:cxn ang="0">
                    <a:pos x="99" y="355"/>
                  </a:cxn>
                  <a:cxn ang="0">
                    <a:pos x="65" y="327"/>
                  </a:cxn>
                  <a:cxn ang="0">
                    <a:pos x="83" y="298"/>
                  </a:cxn>
                  <a:cxn ang="0">
                    <a:pos x="57" y="278"/>
                  </a:cxn>
                  <a:cxn ang="0">
                    <a:pos x="21" y="275"/>
                  </a:cxn>
                  <a:cxn ang="0">
                    <a:pos x="19" y="233"/>
                  </a:cxn>
                  <a:cxn ang="0">
                    <a:pos x="13" y="196"/>
                  </a:cxn>
                  <a:cxn ang="0">
                    <a:pos x="26" y="162"/>
                  </a:cxn>
                  <a:cxn ang="0">
                    <a:pos x="53" y="138"/>
                  </a:cxn>
                  <a:cxn ang="0">
                    <a:pos x="73" y="115"/>
                  </a:cxn>
                  <a:cxn ang="0">
                    <a:pos x="106" y="90"/>
                  </a:cxn>
                  <a:cxn ang="0">
                    <a:pos x="130" y="65"/>
                  </a:cxn>
                  <a:cxn ang="0">
                    <a:pos x="148" y="37"/>
                  </a:cxn>
                  <a:cxn ang="0">
                    <a:pos x="192" y="18"/>
                  </a:cxn>
                  <a:cxn ang="0">
                    <a:pos x="222" y="3"/>
                  </a:cxn>
                  <a:cxn ang="0">
                    <a:pos x="246" y="17"/>
                  </a:cxn>
                  <a:cxn ang="0">
                    <a:pos x="272" y="55"/>
                  </a:cxn>
                  <a:cxn ang="0">
                    <a:pos x="310" y="85"/>
                  </a:cxn>
                  <a:cxn ang="0">
                    <a:pos x="339" y="122"/>
                  </a:cxn>
                  <a:cxn ang="0">
                    <a:pos x="364" y="153"/>
                  </a:cxn>
                  <a:cxn ang="0">
                    <a:pos x="412" y="163"/>
                  </a:cxn>
                  <a:cxn ang="0">
                    <a:pos x="442" y="168"/>
                  </a:cxn>
                  <a:cxn ang="0">
                    <a:pos x="479" y="182"/>
                  </a:cxn>
                  <a:cxn ang="0">
                    <a:pos x="500" y="207"/>
                  </a:cxn>
                  <a:cxn ang="0">
                    <a:pos x="537" y="227"/>
                  </a:cxn>
                  <a:cxn ang="0">
                    <a:pos x="584" y="233"/>
                  </a:cxn>
                  <a:cxn ang="0">
                    <a:pos x="604" y="255"/>
                  </a:cxn>
                  <a:cxn ang="0">
                    <a:pos x="637" y="251"/>
                  </a:cxn>
                  <a:cxn ang="0">
                    <a:pos x="669" y="275"/>
                  </a:cxn>
                  <a:cxn ang="0">
                    <a:pos x="707" y="300"/>
                  </a:cxn>
                  <a:cxn ang="0">
                    <a:pos x="913" y="327"/>
                  </a:cxn>
                  <a:cxn ang="0">
                    <a:pos x="966" y="345"/>
                  </a:cxn>
                  <a:cxn ang="0">
                    <a:pos x="962" y="392"/>
                  </a:cxn>
                  <a:cxn ang="0">
                    <a:pos x="962" y="427"/>
                  </a:cxn>
                  <a:cxn ang="0">
                    <a:pos x="942" y="461"/>
                  </a:cxn>
                  <a:cxn ang="0">
                    <a:pos x="966" y="517"/>
                  </a:cxn>
                  <a:cxn ang="0">
                    <a:pos x="993" y="586"/>
                  </a:cxn>
                  <a:cxn ang="0">
                    <a:pos x="1016" y="690"/>
                  </a:cxn>
                  <a:cxn ang="0">
                    <a:pos x="1004" y="742"/>
                  </a:cxn>
                  <a:cxn ang="0">
                    <a:pos x="989" y="770"/>
                  </a:cxn>
                  <a:cxn ang="0">
                    <a:pos x="547" y="690"/>
                  </a:cxn>
                  <a:cxn ang="0">
                    <a:pos x="273" y="595"/>
                  </a:cxn>
                  <a:cxn ang="0">
                    <a:pos x="246" y="565"/>
                  </a:cxn>
                  <a:cxn ang="0">
                    <a:pos x="217" y="525"/>
                  </a:cxn>
                  <a:cxn ang="0">
                    <a:pos x="186" y="500"/>
                  </a:cxn>
                  <a:cxn ang="0">
                    <a:pos x="157" y="473"/>
                  </a:cxn>
                  <a:cxn ang="0">
                    <a:pos x="117" y="458"/>
                  </a:cxn>
                  <a:cxn ang="0">
                    <a:pos x="85" y="468"/>
                  </a:cxn>
                </a:cxnLst>
                <a:rect l="0" t="0" r="r" b="b"/>
                <a:pathLst>
                  <a:path w="1022" h="771">
                    <a:moveTo>
                      <a:pt x="59" y="465"/>
                    </a:moveTo>
                    <a:lnTo>
                      <a:pt x="53" y="460"/>
                    </a:lnTo>
                    <a:lnTo>
                      <a:pt x="53" y="458"/>
                    </a:lnTo>
                    <a:lnTo>
                      <a:pt x="50" y="450"/>
                    </a:lnTo>
                    <a:lnTo>
                      <a:pt x="41" y="450"/>
                    </a:lnTo>
                    <a:lnTo>
                      <a:pt x="37" y="441"/>
                    </a:lnTo>
                    <a:lnTo>
                      <a:pt x="32" y="430"/>
                    </a:lnTo>
                    <a:lnTo>
                      <a:pt x="37" y="425"/>
                    </a:lnTo>
                    <a:lnTo>
                      <a:pt x="46" y="412"/>
                    </a:lnTo>
                    <a:lnTo>
                      <a:pt x="55" y="410"/>
                    </a:lnTo>
                    <a:lnTo>
                      <a:pt x="68" y="407"/>
                    </a:lnTo>
                    <a:lnTo>
                      <a:pt x="80" y="415"/>
                    </a:lnTo>
                    <a:lnTo>
                      <a:pt x="88" y="412"/>
                    </a:lnTo>
                    <a:lnTo>
                      <a:pt x="99" y="410"/>
                    </a:lnTo>
                    <a:lnTo>
                      <a:pt x="105" y="403"/>
                    </a:lnTo>
                    <a:lnTo>
                      <a:pt x="100" y="392"/>
                    </a:lnTo>
                    <a:lnTo>
                      <a:pt x="97" y="383"/>
                    </a:lnTo>
                    <a:lnTo>
                      <a:pt x="97" y="376"/>
                    </a:lnTo>
                    <a:lnTo>
                      <a:pt x="100" y="367"/>
                    </a:lnTo>
                    <a:lnTo>
                      <a:pt x="99" y="355"/>
                    </a:lnTo>
                    <a:lnTo>
                      <a:pt x="93" y="343"/>
                    </a:lnTo>
                    <a:lnTo>
                      <a:pt x="85" y="338"/>
                    </a:lnTo>
                    <a:lnTo>
                      <a:pt x="75" y="338"/>
                    </a:lnTo>
                    <a:lnTo>
                      <a:pt x="65" y="327"/>
                    </a:lnTo>
                    <a:lnTo>
                      <a:pt x="68" y="318"/>
                    </a:lnTo>
                    <a:lnTo>
                      <a:pt x="73" y="313"/>
                    </a:lnTo>
                    <a:lnTo>
                      <a:pt x="80" y="305"/>
                    </a:lnTo>
                    <a:lnTo>
                      <a:pt x="83" y="298"/>
                    </a:lnTo>
                    <a:lnTo>
                      <a:pt x="80" y="288"/>
                    </a:lnTo>
                    <a:lnTo>
                      <a:pt x="73" y="280"/>
                    </a:lnTo>
                    <a:lnTo>
                      <a:pt x="66" y="273"/>
                    </a:lnTo>
                    <a:lnTo>
                      <a:pt x="57" y="278"/>
                    </a:lnTo>
                    <a:lnTo>
                      <a:pt x="48" y="278"/>
                    </a:lnTo>
                    <a:lnTo>
                      <a:pt x="41" y="275"/>
                    </a:lnTo>
                    <a:lnTo>
                      <a:pt x="32" y="275"/>
                    </a:lnTo>
                    <a:lnTo>
                      <a:pt x="21" y="275"/>
                    </a:lnTo>
                    <a:lnTo>
                      <a:pt x="19" y="263"/>
                    </a:lnTo>
                    <a:lnTo>
                      <a:pt x="12" y="255"/>
                    </a:lnTo>
                    <a:lnTo>
                      <a:pt x="15" y="245"/>
                    </a:lnTo>
                    <a:lnTo>
                      <a:pt x="19" y="233"/>
                    </a:lnTo>
                    <a:lnTo>
                      <a:pt x="12" y="225"/>
                    </a:lnTo>
                    <a:lnTo>
                      <a:pt x="0" y="213"/>
                    </a:lnTo>
                    <a:lnTo>
                      <a:pt x="5" y="198"/>
                    </a:lnTo>
                    <a:lnTo>
                      <a:pt x="13" y="196"/>
                    </a:lnTo>
                    <a:lnTo>
                      <a:pt x="13" y="188"/>
                    </a:lnTo>
                    <a:lnTo>
                      <a:pt x="23" y="182"/>
                    </a:lnTo>
                    <a:lnTo>
                      <a:pt x="23" y="173"/>
                    </a:lnTo>
                    <a:lnTo>
                      <a:pt x="26" y="162"/>
                    </a:lnTo>
                    <a:lnTo>
                      <a:pt x="26" y="155"/>
                    </a:lnTo>
                    <a:lnTo>
                      <a:pt x="35" y="150"/>
                    </a:lnTo>
                    <a:lnTo>
                      <a:pt x="46" y="143"/>
                    </a:lnTo>
                    <a:lnTo>
                      <a:pt x="53" y="138"/>
                    </a:lnTo>
                    <a:lnTo>
                      <a:pt x="55" y="130"/>
                    </a:lnTo>
                    <a:lnTo>
                      <a:pt x="59" y="125"/>
                    </a:lnTo>
                    <a:lnTo>
                      <a:pt x="66" y="115"/>
                    </a:lnTo>
                    <a:lnTo>
                      <a:pt x="73" y="115"/>
                    </a:lnTo>
                    <a:lnTo>
                      <a:pt x="80" y="110"/>
                    </a:lnTo>
                    <a:lnTo>
                      <a:pt x="88" y="106"/>
                    </a:lnTo>
                    <a:lnTo>
                      <a:pt x="100" y="105"/>
                    </a:lnTo>
                    <a:lnTo>
                      <a:pt x="106" y="90"/>
                    </a:lnTo>
                    <a:lnTo>
                      <a:pt x="112" y="85"/>
                    </a:lnTo>
                    <a:lnTo>
                      <a:pt x="117" y="71"/>
                    </a:lnTo>
                    <a:lnTo>
                      <a:pt x="120" y="66"/>
                    </a:lnTo>
                    <a:lnTo>
                      <a:pt x="130" y="65"/>
                    </a:lnTo>
                    <a:lnTo>
                      <a:pt x="135" y="57"/>
                    </a:lnTo>
                    <a:lnTo>
                      <a:pt x="143" y="55"/>
                    </a:lnTo>
                    <a:lnTo>
                      <a:pt x="146" y="46"/>
                    </a:lnTo>
                    <a:lnTo>
                      <a:pt x="148" y="37"/>
                    </a:lnTo>
                    <a:lnTo>
                      <a:pt x="153" y="25"/>
                    </a:lnTo>
                    <a:lnTo>
                      <a:pt x="170" y="25"/>
                    </a:lnTo>
                    <a:lnTo>
                      <a:pt x="185" y="25"/>
                    </a:lnTo>
                    <a:lnTo>
                      <a:pt x="192" y="18"/>
                    </a:lnTo>
                    <a:lnTo>
                      <a:pt x="192" y="12"/>
                    </a:lnTo>
                    <a:lnTo>
                      <a:pt x="199" y="3"/>
                    </a:lnTo>
                    <a:lnTo>
                      <a:pt x="210" y="3"/>
                    </a:lnTo>
                    <a:lnTo>
                      <a:pt x="222" y="3"/>
                    </a:lnTo>
                    <a:lnTo>
                      <a:pt x="230" y="0"/>
                    </a:lnTo>
                    <a:lnTo>
                      <a:pt x="232" y="3"/>
                    </a:lnTo>
                    <a:lnTo>
                      <a:pt x="242" y="8"/>
                    </a:lnTo>
                    <a:lnTo>
                      <a:pt x="246" y="17"/>
                    </a:lnTo>
                    <a:lnTo>
                      <a:pt x="250" y="25"/>
                    </a:lnTo>
                    <a:lnTo>
                      <a:pt x="252" y="35"/>
                    </a:lnTo>
                    <a:lnTo>
                      <a:pt x="259" y="40"/>
                    </a:lnTo>
                    <a:lnTo>
                      <a:pt x="272" y="55"/>
                    </a:lnTo>
                    <a:lnTo>
                      <a:pt x="282" y="57"/>
                    </a:lnTo>
                    <a:lnTo>
                      <a:pt x="290" y="65"/>
                    </a:lnTo>
                    <a:lnTo>
                      <a:pt x="305" y="71"/>
                    </a:lnTo>
                    <a:lnTo>
                      <a:pt x="310" y="85"/>
                    </a:lnTo>
                    <a:lnTo>
                      <a:pt x="324" y="93"/>
                    </a:lnTo>
                    <a:lnTo>
                      <a:pt x="332" y="105"/>
                    </a:lnTo>
                    <a:lnTo>
                      <a:pt x="339" y="110"/>
                    </a:lnTo>
                    <a:lnTo>
                      <a:pt x="339" y="122"/>
                    </a:lnTo>
                    <a:lnTo>
                      <a:pt x="346" y="122"/>
                    </a:lnTo>
                    <a:lnTo>
                      <a:pt x="353" y="133"/>
                    </a:lnTo>
                    <a:lnTo>
                      <a:pt x="355" y="146"/>
                    </a:lnTo>
                    <a:lnTo>
                      <a:pt x="364" y="153"/>
                    </a:lnTo>
                    <a:lnTo>
                      <a:pt x="375" y="150"/>
                    </a:lnTo>
                    <a:lnTo>
                      <a:pt x="395" y="158"/>
                    </a:lnTo>
                    <a:lnTo>
                      <a:pt x="402" y="162"/>
                    </a:lnTo>
                    <a:lnTo>
                      <a:pt x="412" y="163"/>
                    </a:lnTo>
                    <a:lnTo>
                      <a:pt x="419" y="155"/>
                    </a:lnTo>
                    <a:lnTo>
                      <a:pt x="426" y="158"/>
                    </a:lnTo>
                    <a:lnTo>
                      <a:pt x="437" y="158"/>
                    </a:lnTo>
                    <a:lnTo>
                      <a:pt x="442" y="168"/>
                    </a:lnTo>
                    <a:lnTo>
                      <a:pt x="450" y="175"/>
                    </a:lnTo>
                    <a:lnTo>
                      <a:pt x="457" y="175"/>
                    </a:lnTo>
                    <a:lnTo>
                      <a:pt x="467" y="182"/>
                    </a:lnTo>
                    <a:lnTo>
                      <a:pt x="479" y="182"/>
                    </a:lnTo>
                    <a:lnTo>
                      <a:pt x="486" y="188"/>
                    </a:lnTo>
                    <a:lnTo>
                      <a:pt x="487" y="198"/>
                    </a:lnTo>
                    <a:lnTo>
                      <a:pt x="493" y="205"/>
                    </a:lnTo>
                    <a:lnTo>
                      <a:pt x="500" y="207"/>
                    </a:lnTo>
                    <a:lnTo>
                      <a:pt x="507" y="213"/>
                    </a:lnTo>
                    <a:lnTo>
                      <a:pt x="519" y="222"/>
                    </a:lnTo>
                    <a:lnTo>
                      <a:pt x="529" y="227"/>
                    </a:lnTo>
                    <a:lnTo>
                      <a:pt x="537" y="227"/>
                    </a:lnTo>
                    <a:lnTo>
                      <a:pt x="544" y="227"/>
                    </a:lnTo>
                    <a:lnTo>
                      <a:pt x="559" y="225"/>
                    </a:lnTo>
                    <a:lnTo>
                      <a:pt x="572" y="227"/>
                    </a:lnTo>
                    <a:lnTo>
                      <a:pt x="584" y="233"/>
                    </a:lnTo>
                    <a:lnTo>
                      <a:pt x="586" y="243"/>
                    </a:lnTo>
                    <a:lnTo>
                      <a:pt x="587" y="255"/>
                    </a:lnTo>
                    <a:lnTo>
                      <a:pt x="595" y="260"/>
                    </a:lnTo>
                    <a:lnTo>
                      <a:pt x="604" y="255"/>
                    </a:lnTo>
                    <a:lnTo>
                      <a:pt x="613" y="245"/>
                    </a:lnTo>
                    <a:lnTo>
                      <a:pt x="619" y="240"/>
                    </a:lnTo>
                    <a:lnTo>
                      <a:pt x="629" y="250"/>
                    </a:lnTo>
                    <a:lnTo>
                      <a:pt x="637" y="251"/>
                    </a:lnTo>
                    <a:lnTo>
                      <a:pt x="644" y="260"/>
                    </a:lnTo>
                    <a:lnTo>
                      <a:pt x="659" y="263"/>
                    </a:lnTo>
                    <a:lnTo>
                      <a:pt x="664" y="265"/>
                    </a:lnTo>
                    <a:lnTo>
                      <a:pt x="669" y="275"/>
                    </a:lnTo>
                    <a:lnTo>
                      <a:pt x="677" y="285"/>
                    </a:lnTo>
                    <a:lnTo>
                      <a:pt x="687" y="285"/>
                    </a:lnTo>
                    <a:lnTo>
                      <a:pt x="702" y="293"/>
                    </a:lnTo>
                    <a:lnTo>
                      <a:pt x="707" y="300"/>
                    </a:lnTo>
                    <a:lnTo>
                      <a:pt x="902" y="298"/>
                    </a:lnTo>
                    <a:lnTo>
                      <a:pt x="902" y="308"/>
                    </a:lnTo>
                    <a:lnTo>
                      <a:pt x="906" y="318"/>
                    </a:lnTo>
                    <a:lnTo>
                      <a:pt x="913" y="327"/>
                    </a:lnTo>
                    <a:lnTo>
                      <a:pt x="924" y="330"/>
                    </a:lnTo>
                    <a:lnTo>
                      <a:pt x="951" y="328"/>
                    </a:lnTo>
                    <a:lnTo>
                      <a:pt x="962" y="335"/>
                    </a:lnTo>
                    <a:lnTo>
                      <a:pt x="966" y="345"/>
                    </a:lnTo>
                    <a:lnTo>
                      <a:pt x="962" y="355"/>
                    </a:lnTo>
                    <a:lnTo>
                      <a:pt x="966" y="367"/>
                    </a:lnTo>
                    <a:lnTo>
                      <a:pt x="960" y="381"/>
                    </a:lnTo>
                    <a:lnTo>
                      <a:pt x="962" y="392"/>
                    </a:lnTo>
                    <a:lnTo>
                      <a:pt x="966" y="403"/>
                    </a:lnTo>
                    <a:lnTo>
                      <a:pt x="966" y="410"/>
                    </a:lnTo>
                    <a:lnTo>
                      <a:pt x="966" y="421"/>
                    </a:lnTo>
                    <a:lnTo>
                      <a:pt x="962" y="427"/>
                    </a:lnTo>
                    <a:lnTo>
                      <a:pt x="954" y="432"/>
                    </a:lnTo>
                    <a:lnTo>
                      <a:pt x="949" y="440"/>
                    </a:lnTo>
                    <a:lnTo>
                      <a:pt x="944" y="450"/>
                    </a:lnTo>
                    <a:lnTo>
                      <a:pt x="942" y="461"/>
                    </a:lnTo>
                    <a:lnTo>
                      <a:pt x="942" y="473"/>
                    </a:lnTo>
                    <a:lnTo>
                      <a:pt x="944" y="483"/>
                    </a:lnTo>
                    <a:lnTo>
                      <a:pt x="962" y="500"/>
                    </a:lnTo>
                    <a:lnTo>
                      <a:pt x="966" y="517"/>
                    </a:lnTo>
                    <a:lnTo>
                      <a:pt x="967" y="528"/>
                    </a:lnTo>
                    <a:lnTo>
                      <a:pt x="967" y="538"/>
                    </a:lnTo>
                    <a:lnTo>
                      <a:pt x="976" y="552"/>
                    </a:lnTo>
                    <a:lnTo>
                      <a:pt x="993" y="586"/>
                    </a:lnTo>
                    <a:lnTo>
                      <a:pt x="994" y="605"/>
                    </a:lnTo>
                    <a:lnTo>
                      <a:pt x="993" y="630"/>
                    </a:lnTo>
                    <a:lnTo>
                      <a:pt x="994" y="660"/>
                    </a:lnTo>
                    <a:lnTo>
                      <a:pt x="1016" y="690"/>
                    </a:lnTo>
                    <a:lnTo>
                      <a:pt x="1021" y="702"/>
                    </a:lnTo>
                    <a:lnTo>
                      <a:pt x="1016" y="715"/>
                    </a:lnTo>
                    <a:lnTo>
                      <a:pt x="1011" y="733"/>
                    </a:lnTo>
                    <a:lnTo>
                      <a:pt x="1004" y="742"/>
                    </a:lnTo>
                    <a:lnTo>
                      <a:pt x="994" y="750"/>
                    </a:lnTo>
                    <a:lnTo>
                      <a:pt x="989" y="753"/>
                    </a:lnTo>
                    <a:lnTo>
                      <a:pt x="989" y="762"/>
                    </a:lnTo>
                    <a:lnTo>
                      <a:pt x="989" y="770"/>
                    </a:lnTo>
                    <a:lnTo>
                      <a:pt x="675" y="770"/>
                    </a:lnTo>
                    <a:lnTo>
                      <a:pt x="631" y="770"/>
                    </a:lnTo>
                    <a:lnTo>
                      <a:pt x="631" y="690"/>
                    </a:lnTo>
                    <a:lnTo>
                      <a:pt x="547" y="690"/>
                    </a:lnTo>
                    <a:lnTo>
                      <a:pt x="547" y="611"/>
                    </a:lnTo>
                    <a:lnTo>
                      <a:pt x="284" y="615"/>
                    </a:lnTo>
                    <a:lnTo>
                      <a:pt x="273" y="605"/>
                    </a:lnTo>
                    <a:lnTo>
                      <a:pt x="273" y="595"/>
                    </a:lnTo>
                    <a:lnTo>
                      <a:pt x="264" y="591"/>
                    </a:lnTo>
                    <a:lnTo>
                      <a:pt x="260" y="580"/>
                    </a:lnTo>
                    <a:lnTo>
                      <a:pt x="257" y="572"/>
                    </a:lnTo>
                    <a:lnTo>
                      <a:pt x="246" y="565"/>
                    </a:lnTo>
                    <a:lnTo>
                      <a:pt x="242" y="543"/>
                    </a:lnTo>
                    <a:lnTo>
                      <a:pt x="233" y="538"/>
                    </a:lnTo>
                    <a:lnTo>
                      <a:pt x="220" y="533"/>
                    </a:lnTo>
                    <a:lnTo>
                      <a:pt x="217" y="525"/>
                    </a:lnTo>
                    <a:lnTo>
                      <a:pt x="208" y="513"/>
                    </a:lnTo>
                    <a:lnTo>
                      <a:pt x="200" y="510"/>
                    </a:lnTo>
                    <a:lnTo>
                      <a:pt x="193" y="505"/>
                    </a:lnTo>
                    <a:lnTo>
                      <a:pt x="186" y="500"/>
                    </a:lnTo>
                    <a:lnTo>
                      <a:pt x="180" y="493"/>
                    </a:lnTo>
                    <a:lnTo>
                      <a:pt x="170" y="488"/>
                    </a:lnTo>
                    <a:lnTo>
                      <a:pt x="160" y="483"/>
                    </a:lnTo>
                    <a:lnTo>
                      <a:pt x="157" y="473"/>
                    </a:lnTo>
                    <a:lnTo>
                      <a:pt x="146" y="468"/>
                    </a:lnTo>
                    <a:lnTo>
                      <a:pt x="135" y="461"/>
                    </a:lnTo>
                    <a:lnTo>
                      <a:pt x="125" y="460"/>
                    </a:lnTo>
                    <a:lnTo>
                      <a:pt x="117" y="458"/>
                    </a:lnTo>
                    <a:lnTo>
                      <a:pt x="108" y="458"/>
                    </a:lnTo>
                    <a:lnTo>
                      <a:pt x="100" y="460"/>
                    </a:lnTo>
                    <a:lnTo>
                      <a:pt x="93" y="465"/>
                    </a:lnTo>
                    <a:lnTo>
                      <a:pt x="85" y="468"/>
                    </a:lnTo>
                    <a:lnTo>
                      <a:pt x="73" y="461"/>
                    </a:lnTo>
                    <a:lnTo>
                      <a:pt x="66" y="472"/>
                    </a:lnTo>
                    <a:lnTo>
                      <a:pt x="59" y="465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79" name="Freeform 20"/>
              <p:cNvSpPr>
                <a:spLocks/>
              </p:cNvSpPr>
              <p:nvPr/>
            </p:nvSpPr>
            <p:spPr bwMode="auto">
              <a:xfrm>
                <a:off x="3521404" y="4600010"/>
                <a:ext cx="1017643" cy="358424"/>
              </a:xfrm>
              <a:custGeom>
                <a:avLst/>
                <a:gdLst/>
                <a:ahLst/>
                <a:cxnLst>
                  <a:cxn ang="0">
                    <a:pos x="1180" y="3"/>
                  </a:cxn>
                  <a:cxn ang="0">
                    <a:pos x="1180" y="184"/>
                  </a:cxn>
                  <a:cxn ang="0">
                    <a:pos x="1155" y="193"/>
                  </a:cxn>
                  <a:cxn ang="0">
                    <a:pos x="1118" y="195"/>
                  </a:cxn>
                  <a:cxn ang="0">
                    <a:pos x="1093" y="207"/>
                  </a:cxn>
                  <a:cxn ang="0">
                    <a:pos x="1046" y="233"/>
                  </a:cxn>
                  <a:cxn ang="0">
                    <a:pos x="996" y="244"/>
                  </a:cxn>
                  <a:cxn ang="0">
                    <a:pos x="978" y="255"/>
                  </a:cxn>
                  <a:cxn ang="0">
                    <a:pos x="948" y="289"/>
                  </a:cxn>
                  <a:cxn ang="0">
                    <a:pos x="901" y="293"/>
                  </a:cxn>
                  <a:cxn ang="0">
                    <a:pos x="821" y="312"/>
                  </a:cxn>
                  <a:cxn ang="0">
                    <a:pos x="779" y="315"/>
                  </a:cxn>
                  <a:cxn ang="0">
                    <a:pos x="767" y="318"/>
                  </a:cxn>
                  <a:cxn ang="0">
                    <a:pos x="749" y="312"/>
                  </a:cxn>
                  <a:cxn ang="0">
                    <a:pos x="712" y="277"/>
                  </a:cxn>
                  <a:cxn ang="0">
                    <a:pos x="691" y="269"/>
                  </a:cxn>
                  <a:cxn ang="0">
                    <a:pos x="661" y="270"/>
                  </a:cxn>
                  <a:cxn ang="0">
                    <a:pos x="649" y="280"/>
                  </a:cxn>
                  <a:cxn ang="0">
                    <a:pos x="638" y="285"/>
                  </a:cxn>
                  <a:cxn ang="0">
                    <a:pos x="626" y="297"/>
                  </a:cxn>
                  <a:cxn ang="0">
                    <a:pos x="522" y="335"/>
                  </a:cxn>
                  <a:cxn ang="0">
                    <a:pos x="511" y="338"/>
                  </a:cxn>
                  <a:cxn ang="0">
                    <a:pos x="484" y="363"/>
                  </a:cxn>
                  <a:cxn ang="0">
                    <a:pos x="471" y="363"/>
                  </a:cxn>
                  <a:cxn ang="0">
                    <a:pos x="451" y="352"/>
                  </a:cxn>
                  <a:cxn ang="0">
                    <a:pos x="427" y="358"/>
                  </a:cxn>
                  <a:cxn ang="0">
                    <a:pos x="407" y="354"/>
                  </a:cxn>
                  <a:cxn ang="0">
                    <a:pos x="391" y="354"/>
                  </a:cxn>
                  <a:cxn ang="0">
                    <a:pos x="367" y="354"/>
                  </a:cxn>
                  <a:cxn ang="0">
                    <a:pos x="355" y="358"/>
                  </a:cxn>
                  <a:cxn ang="0">
                    <a:pos x="333" y="378"/>
                  </a:cxn>
                  <a:cxn ang="0">
                    <a:pos x="322" y="392"/>
                  </a:cxn>
                  <a:cxn ang="0">
                    <a:pos x="313" y="397"/>
                  </a:cxn>
                  <a:cxn ang="0">
                    <a:pos x="287" y="397"/>
                  </a:cxn>
                  <a:cxn ang="0">
                    <a:pos x="279" y="387"/>
                  </a:cxn>
                  <a:cxn ang="0">
                    <a:pos x="279" y="377"/>
                  </a:cxn>
                  <a:cxn ang="0">
                    <a:pos x="277" y="354"/>
                  </a:cxn>
                  <a:cxn ang="0">
                    <a:pos x="265" y="338"/>
                  </a:cxn>
                  <a:cxn ang="0">
                    <a:pos x="217" y="323"/>
                  </a:cxn>
                  <a:cxn ang="0">
                    <a:pos x="200" y="312"/>
                  </a:cxn>
                  <a:cxn ang="0">
                    <a:pos x="184" y="305"/>
                  </a:cxn>
                  <a:cxn ang="0">
                    <a:pos x="159" y="309"/>
                  </a:cxn>
                  <a:cxn ang="0">
                    <a:pos x="140" y="318"/>
                  </a:cxn>
                  <a:cxn ang="0">
                    <a:pos x="125" y="318"/>
                  </a:cxn>
                  <a:cxn ang="0">
                    <a:pos x="113" y="312"/>
                  </a:cxn>
                  <a:cxn ang="0">
                    <a:pos x="99" y="309"/>
                  </a:cxn>
                  <a:cxn ang="0">
                    <a:pos x="72" y="293"/>
                  </a:cxn>
                  <a:cxn ang="0">
                    <a:pos x="55" y="289"/>
                  </a:cxn>
                  <a:cxn ang="0">
                    <a:pos x="59" y="277"/>
                  </a:cxn>
                  <a:cxn ang="0">
                    <a:pos x="55" y="265"/>
                  </a:cxn>
                  <a:cxn ang="0">
                    <a:pos x="48" y="258"/>
                  </a:cxn>
                  <a:cxn ang="0">
                    <a:pos x="48" y="244"/>
                  </a:cxn>
                  <a:cxn ang="0">
                    <a:pos x="55" y="238"/>
                  </a:cxn>
                  <a:cxn ang="0">
                    <a:pos x="65" y="237"/>
                  </a:cxn>
                  <a:cxn ang="0">
                    <a:pos x="0" y="237"/>
                  </a:cxn>
                  <a:cxn ang="0">
                    <a:pos x="0" y="165"/>
                  </a:cxn>
                  <a:cxn ang="0">
                    <a:pos x="0" y="0"/>
                  </a:cxn>
                  <a:cxn ang="0">
                    <a:pos x="60" y="3"/>
                  </a:cxn>
                  <a:cxn ang="0">
                    <a:pos x="113" y="3"/>
                  </a:cxn>
                  <a:cxn ang="0">
                    <a:pos x="299" y="3"/>
                  </a:cxn>
                  <a:cxn ang="0">
                    <a:pos x="861" y="5"/>
                  </a:cxn>
                  <a:cxn ang="0">
                    <a:pos x="879" y="5"/>
                  </a:cxn>
                  <a:cxn ang="0">
                    <a:pos x="1180" y="3"/>
                  </a:cxn>
                </a:cxnLst>
                <a:rect l="0" t="0" r="r" b="b"/>
                <a:pathLst>
                  <a:path w="1181" h="398">
                    <a:moveTo>
                      <a:pt x="1180" y="3"/>
                    </a:moveTo>
                    <a:lnTo>
                      <a:pt x="1180" y="184"/>
                    </a:lnTo>
                    <a:lnTo>
                      <a:pt x="1155" y="193"/>
                    </a:lnTo>
                    <a:lnTo>
                      <a:pt x="1118" y="195"/>
                    </a:lnTo>
                    <a:lnTo>
                      <a:pt x="1093" y="207"/>
                    </a:lnTo>
                    <a:lnTo>
                      <a:pt x="1046" y="233"/>
                    </a:lnTo>
                    <a:lnTo>
                      <a:pt x="996" y="244"/>
                    </a:lnTo>
                    <a:lnTo>
                      <a:pt x="978" y="255"/>
                    </a:lnTo>
                    <a:lnTo>
                      <a:pt x="948" y="289"/>
                    </a:lnTo>
                    <a:lnTo>
                      <a:pt x="901" y="293"/>
                    </a:lnTo>
                    <a:lnTo>
                      <a:pt x="821" y="312"/>
                    </a:lnTo>
                    <a:lnTo>
                      <a:pt x="779" y="315"/>
                    </a:lnTo>
                    <a:lnTo>
                      <a:pt x="767" y="318"/>
                    </a:lnTo>
                    <a:lnTo>
                      <a:pt x="749" y="312"/>
                    </a:lnTo>
                    <a:lnTo>
                      <a:pt x="712" y="277"/>
                    </a:lnTo>
                    <a:lnTo>
                      <a:pt x="691" y="269"/>
                    </a:lnTo>
                    <a:lnTo>
                      <a:pt x="661" y="270"/>
                    </a:lnTo>
                    <a:lnTo>
                      <a:pt x="649" y="280"/>
                    </a:lnTo>
                    <a:lnTo>
                      <a:pt x="638" y="285"/>
                    </a:lnTo>
                    <a:lnTo>
                      <a:pt x="626" y="297"/>
                    </a:lnTo>
                    <a:lnTo>
                      <a:pt x="522" y="335"/>
                    </a:lnTo>
                    <a:lnTo>
                      <a:pt x="511" y="338"/>
                    </a:lnTo>
                    <a:lnTo>
                      <a:pt x="484" y="363"/>
                    </a:lnTo>
                    <a:lnTo>
                      <a:pt x="471" y="363"/>
                    </a:lnTo>
                    <a:lnTo>
                      <a:pt x="451" y="352"/>
                    </a:lnTo>
                    <a:lnTo>
                      <a:pt x="427" y="358"/>
                    </a:lnTo>
                    <a:lnTo>
                      <a:pt x="407" y="354"/>
                    </a:lnTo>
                    <a:lnTo>
                      <a:pt x="391" y="354"/>
                    </a:lnTo>
                    <a:lnTo>
                      <a:pt x="367" y="354"/>
                    </a:lnTo>
                    <a:lnTo>
                      <a:pt x="355" y="358"/>
                    </a:lnTo>
                    <a:lnTo>
                      <a:pt x="333" y="378"/>
                    </a:lnTo>
                    <a:lnTo>
                      <a:pt x="322" y="392"/>
                    </a:lnTo>
                    <a:lnTo>
                      <a:pt x="313" y="397"/>
                    </a:lnTo>
                    <a:lnTo>
                      <a:pt x="287" y="397"/>
                    </a:lnTo>
                    <a:lnTo>
                      <a:pt x="279" y="387"/>
                    </a:lnTo>
                    <a:lnTo>
                      <a:pt x="279" y="377"/>
                    </a:lnTo>
                    <a:lnTo>
                      <a:pt x="277" y="354"/>
                    </a:lnTo>
                    <a:lnTo>
                      <a:pt x="265" y="338"/>
                    </a:lnTo>
                    <a:lnTo>
                      <a:pt x="217" y="323"/>
                    </a:lnTo>
                    <a:lnTo>
                      <a:pt x="200" y="312"/>
                    </a:lnTo>
                    <a:lnTo>
                      <a:pt x="184" y="305"/>
                    </a:lnTo>
                    <a:lnTo>
                      <a:pt x="159" y="309"/>
                    </a:lnTo>
                    <a:lnTo>
                      <a:pt x="140" y="318"/>
                    </a:lnTo>
                    <a:lnTo>
                      <a:pt x="125" y="318"/>
                    </a:lnTo>
                    <a:lnTo>
                      <a:pt x="113" y="312"/>
                    </a:lnTo>
                    <a:lnTo>
                      <a:pt x="99" y="309"/>
                    </a:lnTo>
                    <a:lnTo>
                      <a:pt x="72" y="293"/>
                    </a:lnTo>
                    <a:lnTo>
                      <a:pt x="55" y="289"/>
                    </a:lnTo>
                    <a:lnTo>
                      <a:pt x="59" y="277"/>
                    </a:lnTo>
                    <a:lnTo>
                      <a:pt x="55" y="265"/>
                    </a:lnTo>
                    <a:lnTo>
                      <a:pt x="48" y="258"/>
                    </a:lnTo>
                    <a:lnTo>
                      <a:pt x="48" y="244"/>
                    </a:lnTo>
                    <a:lnTo>
                      <a:pt x="55" y="238"/>
                    </a:lnTo>
                    <a:lnTo>
                      <a:pt x="65" y="237"/>
                    </a:lnTo>
                    <a:lnTo>
                      <a:pt x="0" y="237"/>
                    </a:lnTo>
                    <a:lnTo>
                      <a:pt x="0" y="165"/>
                    </a:lnTo>
                    <a:lnTo>
                      <a:pt x="0" y="0"/>
                    </a:lnTo>
                    <a:lnTo>
                      <a:pt x="60" y="3"/>
                    </a:lnTo>
                    <a:lnTo>
                      <a:pt x="113" y="3"/>
                    </a:lnTo>
                    <a:lnTo>
                      <a:pt x="299" y="3"/>
                    </a:lnTo>
                    <a:lnTo>
                      <a:pt x="861" y="5"/>
                    </a:lnTo>
                    <a:lnTo>
                      <a:pt x="879" y="5"/>
                    </a:lnTo>
                    <a:lnTo>
                      <a:pt x="1180" y="3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0" name="Freeform 21"/>
              <p:cNvSpPr>
                <a:spLocks/>
              </p:cNvSpPr>
              <p:nvPr/>
            </p:nvSpPr>
            <p:spPr bwMode="auto">
              <a:xfrm>
                <a:off x="2511516" y="3971417"/>
                <a:ext cx="1163267" cy="352121"/>
              </a:xfrm>
              <a:custGeom>
                <a:avLst/>
                <a:gdLst/>
                <a:ahLst/>
                <a:cxnLst>
                  <a:cxn ang="0">
                    <a:pos x="1324" y="365"/>
                  </a:cxn>
                  <a:cxn ang="0">
                    <a:pos x="1315" y="390"/>
                  </a:cxn>
                  <a:cxn ang="0">
                    <a:pos x="1290" y="385"/>
                  </a:cxn>
                  <a:cxn ang="0">
                    <a:pos x="1274" y="382"/>
                  </a:cxn>
                  <a:cxn ang="0">
                    <a:pos x="1249" y="390"/>
                  </a:cxn>
                  <a:cxn ang="0">
                    <a:pos x="942" y="385"/>
                  </a:cxn>
                  <a:cxn ang="0">
                    <a:pos x="750" y="382"/>
                  </a:cxn>
                  <a:cxn ang="0">
                    <a:pos x="292" y="375"/>
                  </a:cxn>
                  <a:cxn ang="0">
                    <a:pos x="93" y="367"/>
                  </a:cxn>
                  <a:cxn ang="0">
                    <a:pos x="0" y="367"/>
                  </a:cxn>
                  <a:cxn ang="0">
                    <a:pos x="1" y="140"/>
                  </a:cxn>
                  <a:cxn ang="0">
                    <a:pos x="3" y="0"/>
                  </a:cxn>
                  <a:cxn ang="0">
                    <a:pos x="142" y="28"/>
                  </a:cxn>
                  <a:cxn ang="0">
                    <a:pos x="318" y="33"/>
                  </a:cxn>
                  <a:cxn ang="0">
                    <a:pos x="780" y="41"/>
                  </a:cxn>
                  <a:cxn ang="0">
                    <a:pos x="796" y="48"/>
                  </a:cxn>
                  <a:cxn ang="0">
                    <a:pos x="812" y="52"/>
                  </a:cxn>
                  <a:cxn ang="0">
                    <a:pos x="830" y="52"/>
                  </a:cxn>
                  <a:cxn ang="0">
                    <a:pos x="852" y="53"/>
                  </a:cxn>
                  <a:cxn ang="0">
                    <a:pos x="870" y="57"/>
                  </a:cxn>
                  <a:cxn ang="0">
                    <a:pos x="892" y="63"/>
                  </a:cxn>
                  <a:cxn ang="0">
                    <a:pos x="912" y="53"/>
                  </a:cxn>
                  <a:cxn ang="0">
                    <a:pos x="927" y="63"/>
                  </a:cxn>
                  <a:cxn ang="0">
                    <a:pos x="947" y="52"/>
                  </a:cxn>
                  <a:cxn ang="0">
                    <a:pos x="962" y="66"/>
                  </a:cxn>
                  <a:cxn ang="0">
                    <a:pos x="979" y="68"/>
                  </a:cxn>
                  <a:cxn ang="0">
                    <a:pos x="1005" y="78"/>
                  </a:cxn>
                  <a:cxn ang="0">
                    <a:pos x="1025" y="78"/>
                  </a:cxn>
                  <a:cxn ang="0">
                    <a:pos x="1049" y="60"/>
                  </a:cxn>
                  <a:cxn ang="0">
                    <a:pos x="1059" y="41"/>
                  </a:cxn>
                  <a:cxn ang="0">
                    <a:pos x="1082" y="28"/>
                  </a:cxn>
                  <a:cxn ang="0">
                    <a:pos x="1286" y="40"/>
                  </a:cxn>
                  <a:cxn ang="0">
                    <a:pos x="1299" y="53"/>
                  </a:cxn>
                  <a:cxn ang="0">
                    <a:pos x="1299" y="72"/>
                  </a:cxn>
                  <a:cxn ang="0">
                    <a:pos x="1321" y="83"/>
                  </a:cxn>
                  <a:cxn ang="0">
                    <a:pos x="1341" y="86"/>
                  </a:cxn>
                  <a:cxn ang="0">
                    <a:pos x="1339" y="98"/>
                  </a:cxn>
                  <a:cxn ang="0">
                    <a:pos x="1335" y="112"/>
                  </a:cxn>
                  <a:cxn ang="0">
                    <a:pos x="1321" y="120"/>
                  </a:cxn>
                  <a:cxn ang="0">
                    <a:pos x="1310" y="130"/>
                  </a:cxn>
                  <a:cxn ang="0">
                    <a:pos x="1306" y="150"/>
                  </a:cxn>
                  <a:cxn ang="0">
                    <a:pos x="1326" y="165"/>
                  </a:cxn>
                  <a:cxn ang="0">
                    <a:pos x="1321" y="183"/>
                  </a:cxn>
                  <a:cxn ang="0">
                    <a:pos x="1315" y="200"/>
                  </a:cxn>
                  <a:cxn ang="0">
                    <a:pos x="1306" y="218"/>
                  </a:cxn>
                  <a:cxn ang="0">
                    <a:pos x="1304" y="232"/>
                  </a:cxn>
                  <a:cxn ang="0">
                    <a:pos x="1299" y="248"/>
                  </a:cxn>
                  <a:cxn ang="0">
                    <a:pos x="1281" y="255"/>
                  </a:cxn>
                  <a:cxn ang="0">
                    <a:pos x="1281" y="278"/>
                  </a:cxn>
                  <a:cxn ang="0">
                    <a:pos x="1297" y="290"/>
                  </a:cxn>
                  <a:cxn ang="0">
                    <a:pos x="1292" y="310"/>
                  </a:cxn>
                  <a:cxn ang="0">
                    <a:pos x="1306" y="325"/>
                  </a:cxn>
                  <a:cxn ang="0">
                    <a:pos x="1319" y="356"/>
                  </a:cxn>
                </a:cxnLst>
                <a:rect l="0" t="0" r="r" b="b"/>
                <a:pathLst>
                  <a:path w="1350" h="391">
                    <a:moveTo>
                      <a:pt x="1319" y="356"/>
                    </a:moveTo>
                    <a:lnTo>
                      <a:pt x="1324" y="365"/>
                    </a:lnTo>
                    <a:lnTo>
                      <a:pt x="1321" y="380"/>
                    </a:lnTo>
                    <a:lnTo>
                      <a:pt x="1315" y="390"/>
                    </a:lnTo>
                    <a:lnTo>
                      <a:pt x="1304" y="385"/>
                    </a:lnTo>
                    <a:lnTo>
                      <a:pt x="1290" y="385"/>
                    </a:lnTo>
                    <a:lnTo>
                      <a:pt x="1281" y="390"/>
                    </a:lnTo>
                    <a:lnTo>
                      <a:pt x="1274" y="382"/>
                    </a:lnTo>
                    <a:lnTo>
                      <a:pt x="1264" y="382"/>
                    </a:lnTo>
                    <a:lnTo>
                      <a:pt x="1249" y="390"/>
                    </a:lnTo>
                    <a:lnTo>
                      <a:pt x="1234" y="390"/>
                    </a:lnTo>
                    <a:lnTo>
                      <a:pt x="942" y="385"/>
                    </a:lnTo>
                    <a:lnTo>
                      <a:pt x="757" y="382"/>
                    </a:lnTo>
                    <a:lnTo>
                      <a:pt x="750" y="382"/>
                    </a:lnTo>
                    <a:lnTo>
                      <a:pt x="447" y="376"/>
                    </a:lnTo>
                    <a:lnTo>
                      <a:pt x="292" y="375"/>
                    </a:lnTo>
                    <a:lnTo>
                      <a:pt x="155" y="371"/>
                    </a:lnTo>
                    <a:lnTo>
                      <a:pt x="93" y="367"/>
                    </a:lnTo>
                    <a:lnTo>
                      <a:pt x="28" y="367"/>
                    </a:lnTo>
                    <a:lnTo>
                      <a:pt x="0" y="367"/>
                    </a:lnTo>
                    <a:lnTo>
                      <a:pt x="1" y="247"/>
                    </a:lnTo>
                    <a:lnTo>
                      <a:pt x="1" y="140"/>
                    </a:lnTo>
                    <a:lnTo>
                      <a:pt x="3" y="72"/>
                    </a:lnTo>
                    <a:lnTo>
                      <a:pt x="3" y="0"/>
                    </a:lnTo>
                    <a:lnTo>
                      <a:pt x="142" y="3"/>
                    </a:lnTo>
                    <a:lnTo>
                      <a:pt x="142" y="28"/>
                    </a:lnTo>
                    <a:lnTo>
                      <a:pt x="232" y="32"/>
                    </a:lnTo>
                    <a:lnTo>
                      <a:pt x="318" y="33"/>
                    </a:lnTo>
                    <a:lnTo>
                      <a:pt x="480" y="37"/>
                    </a:lnTo>
                    <a:lnTo>
                      <a:pt x="780" y="41"/>
                    </a:lnTo>
                    <a:lnTo>
                      <a:pt x="789" y="45"/>
                    </a:lnTo>
                    <a:lnTo>
                      <a:pt x="796" y="48"/>
                    </a:lnTo>
                    <a:lnTo>
                      <a:pt x="807" y="48"/>
                    </a:lnTo>
                    <a:lnTo>
                      <a:pt x="812" y="52"/>
                    </a:lnTo>
                    <a:lnTo>
                      <a:pt x="822" y="52"/>
                    </a:lnTo>
                    <a:lnTo>
                      <a:pt x="830" y="52"/>
                    </a:lnTo>
                    <a:lnTo>
                      <a:pt x="842" y="60"/>
                    </a:lnTo>
                    <a:lnTo>
                      <a:pt x="852" y="53"/>
                    </a:lnTo>
                    <a:lnTo>
                      <a:pt x="862" y="53"/>
                    </a:lnTo>
                    <a:lnTo>
                      <a:pt x="870" y="57"/>
                    </a:lnTo>
                    <a:lnTo>
                      <a:pt x="885" y="60"/>
                    </a:lnTo>
                    <a:lnTo>
                      <a:pt x="892" y="63"/>
                    </a:lnTo>
                    <a:lnTo>
                      <a:pt x="902" y="63"/>
                    </a:lnTo>
                    <a:lnTo>
                      <a:pt x="912" y="53"/>
                    </a:lnTo>
                    <a:lnTo>
                      <a:pt x="922" y="57"/>
                    </a:lnTo>
                    <a:lnTo>
                      <a:pt x="927" y="63"/>
                    </a:lnTo>
                    <a:lnTo>
                      <a:pt x="936" y="60"/>
                    </a:lnTo>
                    <a:lnTo>
                      <a:pt x="947" y="52"/>
                    </a:lnTo>
                    <a:lnTo>
                      <a:pt x="956" y="57"/>
                    </a:lnTo>
                    <a:lnTo>
                      <a:pt x="962" y="66"/>
                    </a:lnTo>
                    <a:lnTo>
                      <a:pt x="970" y="68"/>
                    </a:lnTo>
                    <a:lnTo>
                      <a:pt x="979" y="68"/>
                    </a:lnTo>
                    <a:lnTo>
                      <a:pt x="992" y="73"/>
                    </a:lnTo>
                    <a:lnTo>
                      <a:pt x="1005" y="78"/>
                    </a:lnTo>
                    <a:lnTo>
                      <a:pt x="1017" y="78"/>
                    </a:lnTo>
                    <a:lnTo>
                      <a:pt x="1025" y="78"/>
                    </a:lnTo>
                    <a:lnTo>
                      <a:pt x="1034" y="68"/>
                    </a:lnTo>
                    <a:lnTo>
                      <a:pt x="1049" y="60"/>
                    </a:lnTo>
                    <a:lnTo>
                      <a:pt x="1050" y="48"/>
                    </a:lnTo>
                    <a:lnTo>
                      <a:pt x="1059" y="41"/>
                    </a:lnTo>
                    <a:lnTo>
                      <a:pt x="1074" y="32"/>
                    </a:lnTo>
                    <a:lnTo>
                      <a:pt x="1082" y="28"/>
                    </a:lnTo>
                    <a:lnTo>
                      <a:pt x="1281" y="32"/>
                    </a:lnTo>
                    <a:lnTo>
                      <a:pt x="1286" y="40"/>
                    </a:lnTo>
                    <a:lnTo>
                      <a:pt x="1290" y="48"/>
                    </a:lnTo>
                    <a:lnTo>
                      <a:pt x="1299" y="53"/>
                    </a:lnTo>
                    <a:lnTo>
                      <a:pt x="1301" y="60"/>
                    </a:lnTo>
                    <a:lnTo>
                      <a:pt x="1299" y="72"/>
                    </a:lnTo>
                    <a:lnTo>
                      <a:pt x="1312" y="78"/>
                    </a:lnTo>
                    <a:lnTo>
                      <a:pt x="1321" y="83"/>
                    </a:lnTo>
                    <a:lnTo>
                      <a:pt x="1330" y="81"/>
                    </a:lnTo>
                    <a:lnTo>
                      <a:pt x="1341" y="86"/>
                    </a:lnTo>
                    <a:lnTo>
                      <a:pt x="1349" y="92"/>
                    </a:lnTo>
                    <a:lnTo>
                      <a:pt x="1339" y="98"/>
                    </a:lnTo>
                    <a:lnTo>
                      <a:pt x="1332" y="103"/>
                    </a:lnTo>
                    <a:lnTo>
                      <a:pt x="1335" y="112"/>
                    </a:lnTo>
                    <a:lnTo>
                      <a:pt x="1330" y="120"/>
                    </a:lnTo>
                    <a:lnTo>
                      <a:pt x="1321" y="120"/>
                    </a:lnTo>
                    <a:lnTo>
                      <a:pt x="1312" y="121"/>
                    </a:lnTo>
                    <a:lnTo>
                      <a:pt x="1310" y="130"/>
                    </a:lnTo>
                    <a:lnTo>
                      <a:pt x="1306" y="141"/>
                    </a:lnTo>
                    <a:lnTo>
                      <a:pt x="1306" y="150"/>
                    </a:lnTo>
                    <a:lnTo>
                      <a:pt x="1321" y="156"/>
                    </a:lnTo>
                    <a:lnTo>
                      <a:pt x="1326" y="165"/>
                    </a:lnTo>
                    <a:lnTo>
                      <a:pt x="1324" y="176"/>
                    </a:lnTo>
                    <a:lnTo>
                      <a:pt x="1321" y="183"/>
                    </a:lnTo>
                    <a:lnTo>
                      <a:pt x="1315" y="192"/>
                    </a:lnTo>
                    <a:lnTo>
                      <a:pt x="1315" y="200"/>
                    </a:lnTo>
                    <a:lnTo>
                      <a:pt x="1315" y="212"/>
                    </a:lnTo>
                    <a:lnTo>
                      <a:pt x="1306" y="218"/>
                    </a:lnTo>
                    <a:lnTo>
                      <a:pt x="1301" y="223"/>
                    </a:lnTo>
                    <a:lnTo>
                      <a:pt x="1304" y="232"/>
                    </a:lnTo>
                    <a:lnTo>
                      <a:pt x="1304" y="243"/>
                    </a:lnTo>
                    <a:lnTo>
                      <a:pt x="1299" y="248"/>
                    </a:lnTo>
                    <a:lnTo>
                      <a:pt x="1290" y="252"/>
                    </a:lnTo>
                    <a:lnTo>
                      <a:pt x="1281" y="255"/>
                    </a:lnTo>
                    <a:lnTo>
                      <a:pt x="1281" y="267"/>
                    </a:lnTo>
                    <a:lnTo>
                      <a:pt x="1281" y="278"/>
                    </a:lnTo>
                    <a:lnTo>
                      <a:pt x="1286" y="287"/>
                    </a:lnTo>
                    <a:lnTo>
                      <a:pt x="1297" y="290"/>
                    </a:lnTo>
                    <a:lnTo>
                      <a:pt x="1297" y="298"/>
                    </a:lnTo>
                    <a:lnTo>
                      <a:pt x="1292" y="310"/>
                    </a:lnTo>
                    <a:lnTo>
                      <a:pt x="1299" y="320"/>
                    </a:lnTo>
                    <a:lnTo>
                      <a:pt x="1306" y="325"/>
                    </a:lnTo>
                    <a:lnTo>
                      <a:pt x="1312" y="351"/>
                    </a:lnTo>
                    <a:lnTo>
                      <a:pt x="1319" y="356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1" name="Freeform 22"/>
              <p:cNvSpPr>
                <a:spLocks/>
              </p:cNvSpPr>
              <p:nvPr/>
            </p:nvSpPr>
            <p:spPr bwMode="auto">
              <a:xfrm>
                <a:off x="5026757" y="3035732"/>
                <a:ext cx="672110" cy="570056"/>
              </a:xfrm>
              <a:custGeom>
                <a:avLst/>
                <a:gdLst/>
                <a:ahLst/>
                <a:cxnLst>
                  <a:cxn ang="0">
                    <a:pos x="1" y="94"/>
                  </a:cxn>
                  <a:cxn ang="0">
                    <a:pos x="8" y="19"/>
                  </a:cxn>
                  <a:cxn ang="0">
                    <a:pos x="79" y="0"/>
                  </a:cxn>
                  <a:cxn ang="0">
                    <a:pos x="92" y="10"/>
                  </a:cxn>
                  <a:cxn ang="0">
                    <a:pos x="97" y="28"/>
                  </a:cxn>
                  <a:cxn ang="0">
                    <a:pos x="115" y="39"/>
                  </a:cxn>
                  <a:cxn ang="0">
                    <a:pos x="134" y="41"/>
                  </a:cxn>
                  <a:cxn ang="0">
                    <a:pos x="154" y="48"/>
                  </a:cxn>
                  <a:cxn ang="0">
                    <a:pos x="172" y="47"/>
                  </a:cxn>
                  <a:cxn ang="0">
                    <a:pos x="175" y="19"/>
                  </a:cxn>
                  <a:cxn ang="0">
                    <a:pos x="190" y="12"/>
                  </a:cxn>
                  <a:cxn ang="0">
                    <a:pos x="216" y="26"/>
                  </a:cxn>
                  <a:cxn ang="0">
                    <a:pos x="236" y="23"/>
                  </a:cxn>
                  <a:cxn ang="0">
                    <a:pos x="256" y="21"/>
                  </a:cxn>
                  <a:cxn ang="0">
                    <a:pos x="287" y="28"/>
                  </a:cxn>
                  <a:cxn ang="0">
                    <a:pos x="289" y="48"/>
                  </a:cxn>
                  <a:cxn ang="0">
                    <a:pos x="287" y="67"/>
                  </a:cxn>
                  <a:cxn ang="0">
                    <a:pos x="311" y="70"/>
                  </a:cxn>
                  <a:cxn ang="0">
                    <a:pos x="339" y="70"/>
                  </a:cxn>
                  <a:cxn ang="0">
                    <a:pos x="346" y="94"/>
                  </a:cxn>
                  <a:cxn ang="0">
                    <a:pos x="392" y="107"/>
                  </a:cxn>
                  <a:cxn ang="0">
                    <a:pos x="406" y="97"/>
                  </a:cxn>
                  <a:cxn ang="0">
                    <a:pos x="411" y="74"/>
                  </a:cxn>
                  <a:cxn ang="0">
                    <a:pos x="414" y="48"/>
                  </a:cxn>
                  <a:cxn ang="0">
                    <a:pos x="428" y="41"/>
                  </a:cxn>
                  <a:cxn ang="0">
                    <a:pos x="456" y="21"/>
                  </a:cxn>
                  <a:cxn ang="0">
                    <a:pos x="468" y="10"/>
                  </a:cxn>
                  <a:cxn ang="0">
                    <a:pos x="485" y="6"/>
                  </a:cxn>
                  <a:cxn ang="0">
                    <a:pos x="503" y="6"/>
                  </a:cxn>
                  <a:cxn ang="0">
                    <a:pos x="516" y="26"/>
                  </a:cxn>
                  <a:cxn ang="0">
                    <a:pos x="530" y="41"/>
                  </a:cxn>
                  <a:cxn ang="0">
                    <a:pos x="545" y="55"/>
                  </a:cxn>
                  <a:cxn ang="0">
                    <a:pos x="558" y="79"/>
                  </a:cxn>
                  <a:cxn ang="0">
                    <a:pos x="561" y="99"/>
                  </a:cxn>
                  <a:cxn ang="0">
                    <a:pos x="582" y="114"/>
                  </a:cxn>
                  <a:cxn ang="0">
                    <a:pos x="592" y="128"/>
                  </a:cxn>
                  <a:cxn ang="0">
                    <a:pos x="608" y="134"/>
                  </a:cxn>
                  <a:cxn ang="0">
                    <a:pos x="634" y="123"/>
                  </a:cxn>
                  <a:cxn ang="0">
                    <a:pos x="642" y="105"/>
                  </a:cxn>
                  <a:cxn ang="0">
                    <a:pos x="652" y="97"/>
                  </a:cxn>
                  <a:cxn ang="0">
                    <a:pos x="680" y="103"/>
                  </a:cxn>
                  <a:cxn ang="0">
                    <a:pos x="705" y="94"/>
                  </a:cxn>
                  <a:cxn ang="0">
                    <a:pos x="718" y="85"/>
                  </a:cxn>
                  <a:cxn ang="0">
                    <a:pos x="738" y="90"/>
                  </a:cxn>
                  <a:cxn ang="0">
                    <a:pos x="752" y="97"/>
                  </a:cxn>
                  <a:cxn ang="0">
                    <a:pos x="765" y="294"/>
                  </a:cxn>
                  <a:cxn ang="0">
                    <a:pos x="771" y="480"/>
                  </a:cxn>
                  <a:cxn ang="0">
                    <a:pos x="687" y="613"/>
                  </a:cxn>
                  <a:cxn ang="0">
                    <a:pos x="8" y="406"/>
                  </a:cxn>
                </a:cxnLst>
                <a:rect l="0" t="0" r="r" b="b"/>
                <a:pathLst>
                  <a:path w="780" h="633">
                    <a:moveTo>
                      <a:pt x="8" y="406"/>
                    </a:moveTo>
                    <a:lnTo>
                      <a:pt x="1" y="94"/>
                    </a:lnTo>
                    <a:lnTo>
                      <a:pt x="0" y="15"/>
                    </a:lnTo>
                    <a:lnTo>
                      <a:pt x="8" y="19"/>
                    </a:lnTo>
                    <a:lnTo>
                      <a:pt x="15" y="19"/>
                    </a:lnTo>
                    <a:lnTo>
                      <a:pt x="79" y="0"/>
                    </a:lnTo>
                    <a:lnTo>
                      <a:pt x="83" y="3"/>
                    </a:lnTo>
                    <a:lnTo>
                      <a:pt x="92" y="10"/>
                    </a:lnTo>
                    <a:lnTo>
                      <a:pt x="92" y="21"/>
                    </a:lnTo>
                    <a:lnTo>
                      <a:pt x="97" y="28"/>
                    </a:lnTo>
                    <a:lnTo>
                      <a:pt x="107" y="35"/>
                    </a:lnTo>
                    <a:lnTo>
                      <a:pt x="115" y="39"/>
                    </a:lnTo>
                    <a:lnTo>
                      <a:pt x="125" y="39"/>
                    </a:lnTo>
                    <a:lnTo>
                      <a:pt x="134" y="41"/>
                    </a:lnTo>
                    <a:lnTo>
                      <a:pt x="145" y="47"/>
                    </a:lnTo>
                    <a:lnTo>
                      <a:pt x="154" y="48"/>
                    </a:lnTo>
                    <a:lnTo>
                      <a:pt x="162" y="48"/>
                    </a:lnTo>
                    <a:lnTo>
                      <a:pt x="172" y="47"/>
                    </a:lnTo>
                    <a:lnTo>
                      <a:pt x="172" y="35"/>
                    </a:lnTo>
                    <a:lnTo>
                      <a:pt x="175" y="19"/>
                    </a:lnTo>
                    <a:lnTo>
                      <a:pt x="182" y="12"/>
                    </a:lnTo>
                    <a:lnTo>
                      <a:pt x="190" y="12"/>
                    </a:lnTo>
                    <a:lnTo>
                      <a:pt x="207" y="23"/>
                    </a:lnTo>
                    <a:lnTo>
                      <a:pt x="216" y="26"/>
                    </a:lnTo>
                    <a:lnTo>
                      <a:pt x="222" y="23"/>
                    </a:lnTo>
                    <a:lnTo>
                      <a:pt x="236" y="23"/>
                    </a:lnTo>
                    <a:lnTo>
                      <a:pt x="247" y="23"/>
                    </a:lnTo>
                    <a:lnTo>
                      <a:pt x="256" y="21"/>
                    </a:lnTo>
                    <a:lnTo>
                      <a:pt x="263" y="21"/>
                    </a:lnTo>
                    <a:lnTo>
                      <a:pt x="287" y="28"/>
                    </a:lnTo>
                    <a:lnTo>
                      <a:pt x="291" y="39"/>
                    </a:lnTo>
                    <a:lnTo>
                      <a:pt x="289" y="48"/>
                    </a:lnTo>
                    <a:lnTo>
                      <a:pt x="284" y="59"/>
                    </a:lnTo>
                    <a:lnTo>
                      <a:pt x="287" y="67"/>
                    </a:lnTo>
                    <a:lnTo>
                      <a:pt x="294" y="70"/>
                    </a:lnTo>
                    <a:lnTo>
                      <a:pt x="311" y="70"/>
                    </a:lnTo>
                    <a:lnTo>
                      <a:pt x="334" y="65"/>
                    </a:lnTo>
                    <a:lnTo>
                      <a:pt x="339" y="70"/>
                    </a:lnTo>
                    <a:lnTo>
                      <a:pt x="339" y="80"/>
                    </a:lnTo>
                    <a:lnTo>
                      <a:pt x="346" y="94"/>
                    </a:lnTo>
                    <a:lnTo>
                      <a:pt x="354" y="99"/>
                    </a:lnTo>
                    <a:lnTo>
                      <a:pt x="392" y="107"/>
                    </a:lnTo>
                    <a:lnTo>
                      <a:pt x="399" y="105"/>
                    </a:lnTo>
                    <a:lnTo>
                      <a:pt x="406" y="97"/>
                    </a:lnTo>
                    <a:lnTo>
                      <a:pt x="408" y="85"/>
                    </a:lnTo>
                    <a:lnTo>
                      <a:pt x="411" y="74"/>
                    </a:lnTo>
                    <a:lnTo>
                      <a:pt x="411" y="60"/>
                    </a:lnTo>
                    <a:lnTo>
                      <a:pt x="414" y="48"/>
                    </a:lnTo>
                    <a:lnTo>
                      <a:pt x="423" y="48"/>
                    </a:lnTo>
                    <a:lnTo>
                      <a:pt x="428" y="41"/>
                    </a:lnTo>
                    <a:lnTo>
                      <a:pt x="443" y="26"/>
                    </a:lnTo>
                    <a:lnTo>
                      <a:pt x="456" y="21"/>
                    </a:lnTo>
                    <a:lnTo>
                      <a:pt x="463" y="12"/>
                    </a:lnTo>
                    <a:lnTo>
                      <a:pt x="468" y="10"/>
                    </a:lnTo>
                    <a:lnTo>
                      <a:pt x="478" y="3"/>
                    </a:lnTo>
                    <a:lnTo>
                      <a:pt x="485" y="6"/>
                    </a:lnTo>
                    <a:lnTo>
                      <a:pt x="493" y="3"/>
                    </a:lnTo>
                    <a:lnTo>
                      <a:pt x="503" y="6"/>
                    </a:lnTo>
                    <a:lnTo>
                      <a:pt x="507" y="19"/>
                    </a:lnTo>
                    <a:lnTo>
                      <a:pt x="516" y="26"/>
                    </a:lnTo>
                    <a:lnTo>
                      <a:pt x="523" y="35"/>
                    </a:lnTo>
                    <a:lnTo>
                      <a:pt x="530" y="41"/>
                    </a:lnTo>
                    <a:lnTo>
                      <a:pt x="533" y="52"/>
                    </a:lnTo>
                    <a:lnTo>
                      <a:pt x="545" y="55"/>
                    </a:lnTo>
                    <a:lnTo>
                      <a:pt x="550" y="65"/>
                    </a:lnTo>
                    <a:lnTo>
                      <a:pt x="558" y="79"/>
                    </a:lnTo>
                    <a:lnTo>
                      <a:pt x="561" y="88"/>
                    </a:lnTo>
                    <a:lnTo>
                      <a:pt x="561" y="99"/>
                    </a:lnTo>
                    <a:lnTo>
                      <a:pt x="576" y="105"/>
                    </a:lnTo>
                    <a:lnTo>
                      <a:pt x="582" y="114"/>
                    </a:lnTo>
                    <a:lnTo>
                      <a:pt x="587" y="119"/>
                    </a:lnTo>
                    <a:lnTo>
                      <a:pt x="592" y="128"/>
                    </a:lnTo>
                    <a:lnTo>
                      <a:pt x="598" y="134"/>
                    </a:lnTo>
                    <a:lnTo>
                      <a:pt x="608" y="134"/>
                    </a:lnTo>
                    <a:lnTo>
                      <a:pt x="616" y="128"/>
                    </a:lnTo>
                    <a:lnTo>
                      <a:pt x="634" y="123"/>
                    </a:lnTo>
                    <a:lnTo>
                      <a:pt x="634" y="114"/>
                    </a:lnTo>
                    <a:lnTo>
                      <a:pt x="642" y="105"/>
                    </a:lnTo>
                    <a:lnTo>
                      <a:pt x="647" y="97"/>
                    </a:lnTo>
                    <a:lnTo>
                      <a:pt x="652" y="97"/>
                    </a:lnTo>
                    <a:lnTo>
                      <a:pt x="663" y="99"/>
                    </a:lnTo>
                    <a:lnTo>
                      <a:pt x="680" y="103"/>
                    </a:lnTo>
                    <a:lnTo>
                      <a:pt x="694" y="99"/>
                    </a:lnTo>
                    <a:lnTo>
                      <a:pt x="705" y="94"/>
                    </a:lnTo>
                    <a:lnTo>
                      <a:pt x="712" y="94"/>
                    </a:lnTo>
                    <a:lnTo>
                      <a:pt x="718" y="85"/>
                    </a:lnTo>
                    <a:lnTo>
                      <a:pt x="729" y="85"/>
                    </a:lnTo>
                    <a:lnTo>
                      <a:pt x="738" y="90"/>
                    </a:lnTo>
                    <a:lnTo>
                      <a:pt x="747" y="90"/>
                    </a:lnTo>
                    <a:lnTo>
                      <a:pt x="752" y="97"/>
                    </a:lnTo>
                    <a:lnTo>
                      <a:pt x="760" y="103"/>
                    </a:lnTo>
                    <a:lnTo>
                      <a:pt x="765" y="294"/>
                    </a:lnTo>
                    <a:lnTo>
                      <a:pt x="769" y="323"/>
                    </a:lnTo>
                    <a:lnTo>
                      <a:pt x="771" y="480"/>
                    </a:lnTo>
                    <a:lnTo>
                      <a:pt x="779" y="609"/>
                    </a:lnTo>
                    <a:lnTo>
                      <a:pt x="687" y="613"/>
                    </a:lnTo>
                    <a:lnTo>
                      <a:pt x="12" y="632"/>
                    </a:lnTo>
                    <a:lnTo>
                      <a:pt x="8" y="406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2" name="Freeform 23"/>
              <p:cNvSpPr>
                <a:spLocks/>
              </p:cNvSpPr>
              <p:nvPr/>
            </p:nvSpPr>
            <p:spPr bwMode="auto">
              <a:xfrm>
                <a:off x="3949659" y="2191003"/>
                <a:ext cx="1144310" cy="863640"/>
              </a:xfrm>
              <a:custGeom>
                <a:avLst/>
                <a:gdLst/>
                <a:ahLst/>
                <a:cxnLst>
                  <a:cxn ang="0">
                    <a:pos x="217" y="641"/>
                  </a:cxn>
                  <a:cxn ang="0">
                    <a:pos x="257" y="657"/>
                  </a:cxn>
                  <a:cxn ang="0">
                    <a:pos x="290" y="686"/>
                  </a:cxn>
                  <a:cxn ang="0">
                    <a:pos x="323" y="701"/>
                  </a:cxn>
                  <a:cxn ang="0">
                    <a:pos x="348" y="726"/>
                  </a:cxn>
                  <a:cxn ang="0">
                    <a:pos x="339" y="764"/>
                  </a:cxn>
                  <a:cxn ang="0">
                    <a:pos x="366" y="803"/>
                  </a:cxn>
                  <a:cxn ang="0">
                    <a:pos x="408" y="821"/>
                  </a:cxn>
                  <a:cxn ang="0">
                    <a:pos x="439" y="846"/>
                  </a:cxn>
                  <a:cxn ang="0">
                    <a:pos x="475" y="853"/>
                  </a:cxn>
                  <a:cxn ang="0">
                    <a:pos x="480" y="883"/>
                  </a:cxn>
                  <a:cxn ang="0">
                    <a:pos x="520" y="903"/>
                  </a:cxn>
                  <a:cxn ang="0">
                    <a:pos x="533" y="944"/>
                  </a:cxn>
                  <a:cxn ang="0">
                    <a:pos x="653" y="933"/>
                  </a:cxn>
                  <a:cxn ang="0">
                    <a:pos x="652" y="883"/>
                  </a:cxn>
                  <a:cxn ang="0">
                    <a:pos x="670" y="848"/>
                  </a:cxn>
                  <a:cxn ang="0">
                    <a:pos x="722" y="828"/>
                  </a:cxn>
                  <a:cxn ang="0">
                    <a:pos x="753" y="833"/>
                  </a:cxn>
                  <a:cxn ang="0">
                    <a:pos x="792" y="843"/>
                  </a:cxn>
                  <a:cxn ang="0">
                    <a:pos x="793" y="903"/>
                  </a:cxn>
                  <a:cxn ang="0">
                    <a:pos x="833" y="903"/>
                  </a:cxn>
                  <a:cxn ang="0">
                    <a:pos x="862" y="877"/>
                  </a:cxn>
                  <a:cxn ang="0">
                    <a:pos x="897" y="839"/>
                  </a:cxn>
                  <a:cxn ang="0">
                    <a:pos x="935" y="839"/>
                  </a:cxn>
                  <a:cxn ang="0">
                    <a:pos x="964" y="863"/>
                  </a:cxn>
                  <a:cxn ang="0">
                    <a:pos x="1012" y="857"/>
                  </a:cxn>
                  <a:cxn ang="0">
                    <a:pos x="1030" y="806"/>
                  </a:cxn>
                  <a:cxn ang="0">
                    <a:pos x="1072" y="811"/>
                  </a:cxn>
                  <a:cxn ang="0">
                    <a:pos x="1112" y="788"/>
                  </a:cxn>
                  <a:cxn ang="0">
                    <a:pos x="1153" y="776"/>
                  </a:cxn>
                  <a:cxn ang="0">
                    <a:pos x="1200" y="793"/>
                  </a:cxn>
                  <a:cxn ang="0">
                    <a:pos x="1232" y="868"/>
                  </a:cxn>
                  <a:cxn ang="0">
                    <a:pos x="1257" y="908"/>
                  </a:cxn>
                  <a:cxn ang="0">
                    <a:pos x="1244" y="950"/>
                  </a:cxn>
                  <a:cxn ang="0">
                    <a:pos x="1327" y="936"/>
                  </a:cxn>
                  <a:cxn ang="0">
                    <a:pos x="1320" y="312"/>
                  </a:cxn>
                  <a:cxn ang="0">
                    <a:pos x="21" y="17"/>
                  </a:cxn>
                  <a:cxn ang="0">
                    <a:pos x="5" y="50"/>
                  </a:cxn>
                  <a:cxn ang="0">
                    <a:pos x="37" y="72"/>
                  </a:cxn>
                  <a:cxn ang="0">
                    <a:pos x="73" y="57"/>
                  </a:cxn>
                  <a:cxn ang="0">
                    <a:pos x="73" y="95"/>
                  </a:cxn>
                  <a:cxn ang="0">
                    <a:pos x="77" y="130"/>
                  </a:cxn>
                  <a:cxn ang="0">
                    <a:pos x="93" y="155"/>
                  </a:cxn>
                  <a:cxn ang="0">
                    <a:pos x="97" y="200"/>
                  </a:cxn>
                  <a:cxn ang="0">
                    <a:pos x="123" y="240"/>
                  </a:cxn>
                  <a:cxn ang="0">
                    <a:pos x="137" y="265"/>
                  </a:cxn>
                  <a:cxn ang="0">
                    <a:pos x="115" y="292"/>
                  </a:cxn>
                  <a:cxn ang="0">
                    <a:pos x="92" y="320"/>
                  </a:cxn>
                  <a:cxn ang="0">
                    <a:pos x="66" y="347"/>
                  </a:cxn>
                  <a:cxn ang="0">
                    <a:pos x="70" y="379"/>
                  </a:cxn>
                  <a:cxn ang="0">
                    <a:pos x="97" y="394"/>
                  </a:cxn>
                  <a:cxn ang="0">
                    <a:pos x="126" y="399"/>
                  </a:cxn>
                  <a:cxn ang="0">
                    <a:pos x="117" y="437"/>
                  </a:cxn>
                  <a:cxn ang="0">
                    <a:pos x="150" y="442"/>
                  </a:cxn>
                  <a:cxn ang="0">
                    <a:pos x="152" y="475"/>
                  </a:cxn>
                  <a:cxn ang="0">
                    <a:pos x="146" y="510"/>
                  </a:cxn>
                  <a:cxn ang="0">
                    <a:pos x="152" y="544"/>
                  </a:cxn>
                  <a:cxn ang="0">
                    <a:pos x="186" y="569"/>
                  </a:cxn>
                  <a:cxn ang="0">
                    <a:pos x="205" y="602"/>
                  </a:cxn>
                </a:cxnLst>
                <a:rect l="0" t="0" r="r" b="b"/>
                <a:pathLst>
                  <a:path w="1328" h="959">
                    <a:moveTo>
                      <a:pt x="193" y="609"/>
                    </a:moveTo>
                    <a:lnTo>
                      <a:pt x="193" y="621"/>
                    </a:lnTo>
                    <a:lnTo>
                      <a:pt x="203" y="632"/>
                    </a:lnTo>
                    <a:lnTo>
                      <a:pt x="217" y="641"/>
                    </a:lnTo>
                    <a:lnTo>
                      <a:pt x="232" y="641"/>
                    </a:lnTo>
                    <a:lnTo>
                      <a:pt x="237" y="634"/>
                    </a:lnTo>
                    <a:lnTo>
                      <a:pt x="248" y="646"/>
                    </a:lnTo>
                    <a:lnTo>
                      <a:pt x="257" y="657"/>
                    </a:lnTo>
                    <a:lnTo>
                      <a:pt x="266" y="666"/>
                    </a:lnTo>
                    <a:lnTo>
                      <a:pt x="270" y="674"/>
                    </a:lnTo>
                    <a:lnTo>
                      <a:pt x="277" y="681"/>
                    </a:lnTo>
                    <a:lnTo>
                      <a:pt x="290" y="686"/>
                    </a:lnTo>
                    <a:lnTo>
                      <a:pt x="295" y="688"/>
                    </a:lnTo>
                    <a:lnTo>
                      <a:pt x="308" y="691"/>
                    </a:lnTo>
                    <a:lnTo>
                      <a:pt x="317" y="696"/>
                    </a:lnTo>
                    <a:lnTo>
                      <a:pt x="323" y="701"/>
                    </a:lnTo>
                    <a:lnTo>
                      <a:pt x="323" y="711"/>
                    </a:lnTo>
                    <a:lnTo>
                      <a:pt x="328" y="719"/>
                    </a:lnTo>
                    <a:lnTo>
                      <a:pt x="340" y="719"/>
                    </a:lnTo>
                    <a:lnTo>
                      <a:pt x="348" y="726"/>
                    </a:lnTo>
                    <a:lnTo>
                      <a:pt x="348" y="739"/>
                    </a:lnTo>
                    <a:lnTo>
                      <a:pt x="348" y="748"/>
                    </a:lnTo>
                    <a:lnTo>
                      <a:pt x="340" y="757"/>
                    </a:lnTo>
                    <a:lnTo>
                      <a:pt x="339" y="764"/>
                    </a:lnTo>
                    <a:lnTo>
                      <a:pt x="343" y="776"/>
                    </a:lnTo>
                    <a:lnTo>
                      <a:pt x="348" y="786"/>
                    </a:lnTo>
                    <a:lnTo>
                      <a:pt x="357" y="788"/>
                    </a:lnTo>
                    <a:lnTo>
                      <a:pt x="366" y="803"/>
                    </a:lnTo>
                    <a:lnTo>
                      <a:pt x="377" y="803"/>
                    </a:lnTo>
                    <a:lnTo>
                      <a:pt x="386" y="803"/>
                    </a:lnTo>
                    <a:lnTo>
                      <a:pt x="399" y="811"/>
                    </a:lnTo>
                    <a:lnTo>
                      <a:pt x="408" y="821"/>
                    </a:lnTo>
                    <a:lnTo>
                      <a:pt x="415" y="828"/>
                    </a:lnTo>
                    <a:lnTo>
                      <a:pt x="420" y="833"/>
                    </a:lnTo>
                    <a:lnTo>
                      <a:pt x="430" y="839"/>
                    </a:lnTo>
                    <a:lnTo>
                      <a:pt x="439" y="846"/>
                    </a:lnTo>
                    <a:lnTo>
                      <a:pt x="448" y="846"/>
                    </a:lnTo>
                    <a:lnTo>
                      <a:pt x="455" y="846"/>
                    </a:lnTo>
                    <a:lnTo>
                      <a:pt x="460" y="851"/>
                    </a:lnTo>
                    <a:lnTo>
                      <a:pt x="475" y="853"/>
                    </a:lnTo>
                    <a:lnTo>
                      <a:pt x="485" y="857"/>
                    </a:lnTo>
                    <a:lnTo>
                      <a:pt x="486" y="866"/>
                    </a:lnTo>
                    <a:lnTo>
                      <a:pt x="480" y="871"/>
                    </a:lnTo>
                    <a:lnTo>
                      <a:pt x="480" y="883"/>
                    </a:lnTo>
                    <a:lnTo>
                      <a:pt x="493" y="886"/>
                    </a:lnTo>
                    <a:lnTo>
                      <a:pt x="500" y="893"/>
                    </a:lnTo>
                    <a:lnTo>
                      <a:pt x="517" y="897"/>
                    </a:lnTo>
                    <a:lnTo>
                      <a:pt x="520" y="903"/>
                    </a:lnTo>
                    <a:lnTo>
                      <a:pt x="525" y="915"/>
                    </a:lnTo>
                    <a:lnTo>
                      <a:pt x="532" y="928"/>
                    </a:lnTo>
                    <a:lnTo>
                      <a:pt x="533" y="935"/>
                    </a:lnTo>
                    <a:lnTo>
                      <a:pt x="533" y="944"/>
                    </a:lnTo>
                    <a:lnTo>
                      <a:pt x="545" y="950"/>
                    </a:lnTo>
                    <a:lnTo>
                      <a:pt x="660" y="950"/>
                    </a:lnTo>
                    <a:lnTo>
                      <a:pt x="653" y="941"/>
                    </a:lnTo>
                    <a:lnTo>
                      <a:pt x="653" y="933"/>
                    </a:lnTo>
                    <a:lnTo>
                      <a:pt x="657" y="921"/>
                    </a:lnTo>
                    <a:lnTo>
                      <a:pt x="662" y="911"/>
                    </a:lnTo>
                    <a:lnTo>
                      <a:pt x="662" y="903"/>
                    </a:lnTo>
                    <a:lnTo>
                      <a:pt x="652" y="883"/>
                    </a:lnTo>
                    <a:lnTo>
                      <a:pt x="646" y="871"/>
                    </a:lnTo>
                    <a:lnTo>
                      <a:pt x="650" y="863"/>
                    </a:lnTo>
                    <a:lnTo>
                      <a:pt x="660" y="857"/>
                    </a:lnTo>
                    <a:lnTo>
                      <a:pt x="670" y="848"/>
                    </a:lnTo>
                    <a:lnTo>
                      <a:pt x="680" y="843"/>
                    </a:lnTo>
                    <a:lnTo>
                      <a:pt x="693" y="839"/>
                    </a:lnTo>
                    <a:lnTo>
                      <a:pt x="715" y="833"/>
                    </a:lnTo>
                    <a:lnTo>
                      <a:pt x="722" y="828"/>
                    </a:lnTo>
                    <a:lnTo>
                      <a:pt x="725" y="821"/>
                    </a:lnTo>
                    <a:lnTo>
                      <a:pt x="737" y="821"/>
                    </a:lnTo>
                    <a:lnTo>
                      <a:pt x="746" y="823"/>
                    </a:lnTo>
                    <a:lnTo>
                      <a:pt x="753" y="833"/>
                    </a:lnTo>
                    <a:lnTo>
                      <a:pt x="760" y="839"/>
                    </a:lnTo>
                    <a:lnTo>
                      <a:pt x="772" y="833"/>
                    </a:lnTo>
                    <a:lnTo>
                      <a:pt x="780" y="828"/>
                    </a:lnTo>
                    <a:lnTo>
                      <a:pt x="792" y="843"/>
                    </a:lnTo>
                    <a:lnTo>
                      <a:pt x="788" y="859"/>
                    </a:lnTo>
                    <a:lnTo>
                      <a:pt x="777" y="877"/>
                    </a:lnTo>
                    <a:lnTo>
                      <a:pt x="777" y="888"/>
                    </a:lnTo>
                    <a:lnTo>
                      <a:pt x="793" y="903"/>
                    </a:lnTo>
                    <a:lnTo>
                      <a:pt x="799" y="908"/>
                    </a:lnTo>
                    <a:lnTo>
                      <a:pt x="817" y="915"/>
                    </a:lnTo>
                    <a:lnTo>
                      <a:pt x="825" y="915"/>
                    </a:lnTo>
                    <a:lnTo>
                      <a:pt x="833" y="903"/>
                    </a:lnTo>
                    <a:lnTo>
                      <a:pt x="839" y="895"/>
                    </a:lnTo>
                    <a:lnTo>
                      <a:pt x="845" y="888"/>
                    </a:lnTo>
                    <a:lnTo>
                      <a:pt x="855" y="883"/>
                    </a:lnTo>
                    <a:lnTo>
                      <a:pt x="862" y="877"/>
                    </a:lnTo>
                    <a:lnTo>
                      <a:pt x="875" y="863"/>
                    </a:lnTo>
                    <a:lnTo>
                      <a:pt x="885" y="859"/>
                    </a:lnTo>
                    <a:lnTo>
                      <a:pt x="892" y="848"/>
                    </a:lnTo>
                    <a:lnTo>
                      <a:pt x="897" y="839"/>
                    </a:lnTo>
                    <a:lnTo>
                      <a:pt x="908" y="839"/>
                    </a:lnTo>
                    <a:lnTo>
                      <a:pt x="917" y="839"/>
                    </a:lnTo>
                    <a:lnTo>
                      <a:pt x="925" y="839"/>
                    </a:lnTo>
                    <a:lnTo>
                      <a:pt x="935" y="839"/>
                    </a:lnTo>
                    <a:lnTo>
                      <a:pt x="945" y="843"/>
                    </a:lnTo>
                    <a:lnTo>
                      <a:pt x="952" y="851"/>
                    </a:lnTo>
                    <a:lnTo>
                      <a:pt x="957" y="857"/>
                    </a:lnTo>
                    <a:lnTo>
                      <a:pt x="964" y="863"/>
                    </a:lnTo>
                    <a:lnTo>
                      <a:pt x="982" y="859"/>
                    </a:lnTo>
                    <a:lnTo>
                      <a:pt x="993" y="859"/>
                    </a:lnTo>
                    <a:lnTo>
                      <a:pt x="1004" y="863"/>
                    </a:lnTo>
                    <a:lnTo>
                      <a:pt x="1012" y="857"/>
                    </a:lnTo>
                    <a:lnTo>
                      <a:pt x="1012" y="846"/>
                    </a:lnTo>
                    <a:lnTo>
                      <a:pt x="1012" y="833"/>
                    </a:lnTo>
                    <a:lnTo>
                      <a:pt x="1012" y="823"/>
                    </a:lnTo>
                    <a:lnTo>
                      <a:pt x="1030" y="806"/>
                    </a:lnTo>
                    <a:lnTo>
                      <a:pt x="1039" y="806"/>
                    </a:lnTo>
                    <a:lnTo>
                      <a:pt x="1050" y="811"/>
                    </a:lnTo>
                    <a:lnTo>
                      <a:pt x="1060" y="817"/>
                    </a:lnTo>
                    <a:lnTo>
                      <a:pt x="1072" y="811"/>
                    </a:lnTo>
                    <a:lnTo>
                      <a:pt x="1079" y="803"/>
                    </a:lnTo>
                    <a:lnTo>
                      <a:pt x="1088" y="803"/>
                    </a:lnTo>
                    <a:lnTo>
                      <a:pt x="1099" y="793"/>
                    </a:lnTo>
                    <a:lnTo>
                      <a:pt x="1112" y="788"/>
                    </a:lnTo>
                    <a:lnTo>
                      <a:pt x="1124" y="779"/>
                    </a:lnTo>
                    <a:lnTo>
                      <a:pt x="1130" y="773"/>
                    </a:lnTo>
                    <a:lnTo>
                      <a:pt x="1144" y="769"/>
                    </a:lnTo>
                    <a:lnTo>
                      <a:pt x="1153" y="776"/>
                    </a:lnTo>
                    <a:lnTo>
                      <a:pt x="1164" y="783"/>
                    </a:lnTo>
                    <a:lnTo>
                      <a:pt x="1173" y="779"/>
                    </a:lnTo>
                    <a:lnTo>
                      <a:pt x="1185" y="779"/>
                    </a:lnTo>
                    <a:lnTo>
                      <a:pt x="1200" y="793"/>
                    </a:lnTo>
                    <a:lnTo>
                      <a:pt x="1208" y="803"/>
                    </a:lnTo>
                    <a:lnTo>
                      <a:pt x="1219" y="853"/>
                    </a:lnTo>
                    <a:lnTo>
                      <a:pt x="1225" y="859"/>
                    </a:lnTo>
                    <a:lnTo>
                      <a:pt x="1232" y="868"/>
                    </a:lnTo>
                    <a:lnTo>
                      <a:pt x="1244" y="871"/>
                    </a:lnTo>
                    <a:lnTo>
                      <a:pt x="1257" y="886"/>
                    </a:lnTo>
                    <a:lnTo>
                      <a:pt x="1257" y="901"/>
                    </a:lnTo>
                    <a:lnTo>
                      <a:pt x="1257" y="908"/>
                    </a:lnTo>
                    <a:lnTo>
                      <a:pt x="1253" y="916"/>
                    </a:lnTo>
                    <a:lnTo>
                      <a:pt x="1244" y="926"/>
                    </a:lnTo>
                    <a:lnTo>
                      <a:pt x="1244" y="936"/>
                    </a:lnTo>
                    <a:lnTo>
                      <a:pt x="1244" y="950"/>
                    </a:lnTo>
                    <a:lnTo>
                      <a:pt x="1248" y="953"/>
                    </a:lnTo>
                    <a:lnTo>
                      <a:pt x="1257" y="958"/>
                    </a:lnTo>
                    <a:lnTo>
                      <a:pt x="1264" y="958"/>
                    </a:lnTo>
                    <a:lnTo>
                      <a:pt x="1327" y="936"/>
                    </a:lnTo>
                    <a:lnTo>
                      <a:pt x="1320" y="470"/>
                    </a:lnTo>
                    <a:lnTo>
                      <a:pt x="1302" y="470"/>
                    </a:lnTo>
                    <a:lnTo>
                      <a:pt x="1299" y="312"/>
                    </a:lnTo>
                    <a:lnTo>
                      <a:pt x="1320" y="312"/>
                    </a:lnTo>
                    <a:lnTo>
                      <a:pt x="1315" y="155"/>
                    </a:lnTo>
                    <a:lnTo>
                      <a:pt x="1312" y="0"/>
                    </a:lnTo>
                    <a:lnTo>
                      <a:pt x="617" y="12"/>
                    </a:lnTo>
                    <a:lnTo>
                      <a:pt x="21" y="17"/>
                    </a:lnTo>
                    <a:lnTo>
                      <a:pt x="17" y="26"/>
                    </a:lnTo>
                    <a:lnTo>
                      <a:pt x="13" y="33"/>
                    </a:lnTo>
                    <a:lnTo>
                      <a:pt x="0" y="37"/>
                    </a:lnTo>
                    <a:lnTo>
                      <a:pt x="5" y="50"/>
                    </a:lnTo>
                    <a:lnTo>
                      <a:pt x="15" y="53"/>
                    </a:lnTo>
                    <a:lnTo>
                      <a:pt x="21" y="57"/>
                    </a:lnTo>
                    <a:lnTo>
                      <a:pt x="28" y="63"/>
                    </a:lnTo>
                    <a:lnTo>
                      <a:pt x="37" y="72"/>
                    </a:lnTo>
                    <a:lnTo>
                      <a:pt x="43" y="66"/>
                    </a:lnTo>
                    <a:lnTo>
                      <a:pt x="53" y="57"/>
                    </a:lnTo>
                    <a:lnTo>
                      <a:pt x="65" y="53"/>
                    </a:lnTo>
                    <a:lnTo>
                      <a:pt x="73" y="57"/>
                    </a:lnTo>
                    <a:lnTo>
                      <a:pt x="83" y="72"/>
                    </a:lnTo>
                    <a:lnTo>
                      <a:pt x="79" y="80"/>
                    </a:lnTo>
                    <a:lnTo>
                      <a:pt x="72" y="83"/>
                    </a:lnTo>
                    <a:lnTo>
                      <a:pt x="73" y="95"/>
                    </a:lnTo>
                    <a:lnTo>
                      <a:pt x="73" y="103"/>
                    </a:lnTo>
                    <a:lnTo>
                      <a:pt x="75" y="112"/>
                    </a:lnTo>
                    <a:lnTo>
                      <a:pt x="73" y="123"/>
                    </a:lnTo>
                    <a:lnTo>
                      <a:pt x="77" y="130"/>
                    </a:lnTo>
                    <a:lnTo>
                      <a:pt x="85" y="135"/>
                    </a:lnTo>
                    <a:lnTo>
                      <a:pt x="93" y="139"/>
                    </a:lnTo>
                    <a:lnTo>
                      <a:pt x="99" y="147"/>
                    </a:lnTo>
                    <a:lnTo>
                      <a:pt x="93" y="155"/>
                    </a:lnTo>
                    <a:lnTo>
                      <a:pt x="93" y="167"/>
                    </a:lnTo>
                    <a:lnTo>
                      <a:pt x="90" y="185"/>
                    </a:lnTo>
                    <a:lnTo>
                      <a:pt x="93" y="193"/>
                    </a:lnTo>
                    <a:lnTo>
                      <a:pt x="97" y="200"/>
                    </a:lnTo>
                    <a:lnTo>
                      <a:pt x="97" y="213"/>
                    </a:lnTo>
                    <a:lnTo>
                      <a:pt x="103" y="219"/>
                    </a:lnTo>
                    <a:lnTo>
                      <a:pt x="112" y="222"/>
                    </a:lnTo>
                    <a:lnTo>
                      <a:pt x="123" y="240"/>
                    </a:lnTo>
                    <a:lnTo>
                      <a:pt x="128" y="248"/>
                    </a:lnTo>
                    <a:lnTo>
                      <a:pt x="135" y="255"/>
                    </a:lnTo>
                    <a:lnTo>
                      <a:pt x="146" y="262"/>
                    </a:lnTo>
                    <a:lnTo>
                      <a:pt x="137" y="265"/>
                    </a:lnTo>
                    <a:lnTo>
                      <a:pt x="130" y="272"/>
                    </a:lnTo>
                    <a:lnTo>
                      <a:pt x="133" y="282"/>
                    </a:lnTo>
                    <a:lnTo>
                      <a:pt x="128" y="292"/>
                    </a:lnTo>
                    <a:lnTo>
                      <a:pt x="115" y="292"/>
                    </a:lnTo>
                    <a:lnTo>
                      <a:pt x="110" y="300"/>
                    </a:lnTo>
                    <a:lnTo>
                      <a:pt x="108" y="310"/>
                    </a:lnTo>
                    <a:lnTo>
                      <a:pt x="103" y="319"/>
                    </a:lnTo>
                    <a:lnTo>
                      <a:pt x="92" y="320"/>
                    </a:lnTo>
                    <a:lnTo>
                      <a:pt x="85" y="322"/>
                    </a:lnTo>
                    <a:lnTo>
                      <a:pt x="86" y="327"/>
                    </a:lnTo>
                    <a:lnTo>
                      <a:pt x="72" y="339"/>
                    </a:lnTo>
                    <a:lnTo>
                      <a:pt x="66" y="347"/>
                    </a:lnTo>
                    <a:lnTo>
                      <a:pt x="61" y="352"/>
                    </a:lnTo>
                    <a:lnTo>
                      <a:pt x="65" y="361"/>
                    </a:lnTo>
                    <a:lnTo>
                      <a:pt x="61" y="374"/>
                    </a:lnTo>
                    <a:lnTo>
                      <a:pt x="70" y="379"/>
                    </a:lnTo>
                    <a:lnTo>
                      <a:pt x="75" y="384"/>
                    </a:lnTo>
                    <a:lnTo>
                      <a:pt x="83" y="394"/>
                    </a:lnTo>
                    <a:lnTo>
                      <a:pt x="90" y="397"/>
                    </a:lnTo>
                    <a:lnTo>
                      <a:pt x="97" y="394"/>
                    </a:lnTo>
                    <a:lnTo>
                      <a:pt x="103" y="381"/>
                    </a:lnTo>
                    <a:lnTo>
                      <a:pt x="115" y="384"/>
                    </a:lnTo>
                    <a:lnTo>
                      <a:pt x="119" y="394"/>
                    </a:lnTo>
                    <a:lnTo>
                      <a:pt x="126" y="399"/>
                    </a:lnTo>
                    <a:lnTo>
                      <a:pt x="125" y="408"/>
                    </a:lnTo>
                    <a:lnTo>
                      <a:pt x="117" y="417"/>
                    </a:lnTo>
                    <a:lnTo>
                      <a:pt x="115" y="427"/>
                    </a:lnTo>
                    <a:lnTo>
                      <a:pt x="117" y="437"/>
                    </a:lnTo>
                    <a:lnTo>
                      <a:pt x="128" y="441"/>
                    </a:lnTo>
                    <a:lnTo>
                      <a:pt x="141" y="437"/>
                    </a:lnTo>
                    <a:lnTo>
                      <a:pt x="148" y="434"/>
                    </a:lnTo>
                    <a:lnTo>
                      <a:pt x="150" y="442"/>
                    </a:lnTo>
                    <a:lnTo>
                      <a:pt x="146" y="452"/>
                    </a:lnTo>
                    <a:lnTo>
                      <a:pt x="148" y="461"/>
                    </a:lnTo>
                    <a:lnTo>
                      <a:pt x="163" y="466"/>
                    </a:lnTo>
                    <a:lnTo>
                      <a:pt x="152" y="475"/>
                    </a:lnTo>
                    <a:lnTo>
                      <a:pt x="148" y="482"/>
                    </a:lnTo>
                    <a:lnTo>
                      <a:pt x="155" y="490"/>
                    </a:lnTo>
                    <a:lnTo>
                      <a:pt x="163" y="494"/>
                    </a:lnTo>
                    <a:lnTo>
                      <a:pt x="146" y="510"/>
                    </a:lnTo>
                    <a:lnTo>
                      <a:pt x="141" y="519"/>
                    </a:lnTo>
                    <a:lnTo>
                      <a:pt x="150" y="526"/>
                    </a:lnTo>
                    <a:lnTo>
                      <a:pt x="150" y="535"/>
                    </a:lnTo>
                    <a:lnTo>
                      <a:pt x="152" y="544"/>
                    </a:lnTo>
                    <a:lnTo>
                      <a:pt x="155" y="554"/>
                    </a:lnTo>
                    <a:lnTo>
                      <a:pt x="163" y="559"/>
                    </a:lnTo>
                    <a:lnTo>
                      <a:pt x="179" y="564"/>
                    </a:lnTo>
                    <a:lnTo>
                      <a:pt x="186" y="569"/>
                    </a:lnTo>
                    <a:lnTo>
                      <a:pt x="197" y="577"/>
                    </a:lnTo>
                    <a:lnTo>
                      <a:pt x="205" y="579"/>
                    </a:lnTo>
                    <a:lnTo>
                      <a:pt x="208" y="594"/>
                    </a:lnTo>
                    <a:lnTo>
                      <a:pt x="205" y="602"/>
                    </a:lnTo>
                    <a:lnTo>
                      <a:pt x="193" y="609"/>
                    </a:lnTo>
                  </a:path>
                </a:pathLst>
              </a:custGeom>
              <a:solidFill>
                <a:srgbClr val="E8E8E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3" name="Freeform 24"/>
              <p:cNvSpPr>
                <a:spLocks/>
              </p:cNvSpPr>
              <p:nvPr/>
            </p:nvSpPr>
            <p:spPr bwMode="auto">
              <a:xfrm>
                <a:off x="5758323" y="2155881"/>
                <a:ext cx="353288" cy="785292"/>
              </a:xfrm>
              <a:custGeom>
                <a:avLst/>
                <a:gdLst/>
                <a:ahLst/>
                <a:cxnLst>
                  <a:cxn ang="0">
                    <a:pos x="409" y="859"/>
                  </a:cxn>
                  <a:cxn ang="0">
                    <a:pos x="307" y="866"/>
                  </a:cxn>
                  <a:cxn ang="0">
                    <a:pos x="230" y="866"/>
                  </a:cxn>
                  <a:cxn ang="0">
                    <a:pos x="150" y="871"/>
                  </a:cxn>
                  <a:cxn ang="0">
                    <a:pos x="147" y="790"/>
                  </a:cxn>
                  <a:cxn ang="0">
                    <a:pos x="103" y="794"/>
                  </a:cxn>
                  <a:cxn ang="0">
                    <a:pos x="93" y="578"/>
                  </a:cxn>
                  <a:cxn ang="0">
                    <a:pos x="90" y="518"/>
                  </a:cxn>
                  <a:cxn ang="0">
                    <a:pos x="85" y="383"/>
                  </a:cxn>
                  <a:cxn ang="0">
                    <a:pos x="83" y="321"/>
                  </a:cxn>
                  <a:cxn ang="0">
                    <a:pos x="0" y="326"/>
                  </a:cxn>
                  <a:cxn ang="0">
                    <a:pos x="0" y="247"/>
                  </a:cxn>
                  <a:cxn ang="0">
                    <a:pos x="37" y="247"/>
                  </a:cxn>
                  <a:cxn ang="0">
                    <a:pos x="37" y="234"/>
                  </a:cxn>
                  <a:cxn ang="0">
                    <a:pos x="35" y="163"/>
                  </a:cxn>
                  <a:cxn ang="0">
                    <a:pos x="77" y="161"/>
                  </a:cxn>
                  <a:cxn ang="0">
                    <a:pos x="73" y="80"/>
                  </a:cxn>
                  <a:cxn ang="0">
                    <a:pos x="119" y="80"/>
                  </a:cxn>
                  <a:cxn ang="0">
                    <a:pos x="113" y="8"/>
                  </a:cxn>
                  <a:cxn ang="0">
                    <a:pos x="370" y="0"/>
                  </a:cxn>
                  <a:cxn ang="0">
                    <a:pos x="375" y="139"/>
                  </a:cxn>
                  <a:cxn ang="0">
                    <a:pos x="387" y="443"/>
                  </a:cxn>
                  <a:cxn ang="0">
                    <a:pos x="401" y="727"/>
                  </a:cxn>
                  <a:cxn ang="0">
                    <a:pos x="409" y="859"/>
                  </a:cxn>
                </a:cxnLst>
                <a:rect l="0" t="0" r="r" b="b"/>
                <a:pathLst>
                  <a:path w="410" h="872">
                    <a:moveTo>
                      <a:pt x="409" y="859"/>
                    </a:moveTo>
                    <a:lnTo>
                      <a:pt x="307" y="866"/>
                    </a:lnTo>
                    <a:lnTo>
                      <a:pt x="230" y="866"/>
                    </a:lnTo>
                    <a:lnTo>
                      <a:pt x="150" y="871"/>
                    </a:lnTo>
                    <a:lnTo>
                      <a:pt x="147" y="790"/>
                    </a:lnTo>
                    <a:lnTo>
                      <a:pt x="103" y="794"/>
                    </a:lnTo>
                    <a:lnTo>
                      <a:pt x="93" y="578"/>
                    </a:lnTo>
                    <a:lnTo>
                      <a:pt x="90" y="518"/>
                    </a:lnTo>
                    <a:lnTo>
                      <a:pt x="85" y="383"/>
                    </a:lnTo>
                    <a:lnTo>
                      <a:pt x="83" y="321"/>
                    </a:lnTo>
                    <a:lnTo>
                      <a:pt x="0" y="326"/>
                    </a:lnTo>
                    <a:lnTo>
                      <a:pt x="0" y="247"/>
                    </a:lnTo>
                    <a:lnTo>
                      <a:pt x="37" y="247"/>
                    </a:lnTo>
                    <a:lnTo>
                      <a:pt x="37" y="234"/>
                    </a:lnTo>
                    <a:lnTo>
                      <a:pt x="35" y="163"/>
                    </a:lnTo>
                    <a:lnTo>
                      <a:pt x="77" y="161"/>
                    </a:lnTo>
                    <a:lnTo>
                      <a:pt x="73" y="80"/>
                    </a:lnTo>
                    <a:lnTo>
                      <a:pt x="119" y="80"/>
                    </a:lnTo>
                    <a:lnTo>
                      <a:pt x="113" y="8"/>
                    </a:lnTo>
                    <a:lnTo>
                      <a:pt x="370" y="0"/>
                    </a:lnTo>
                    <a:lnTo>
                      <a:pt x="375" y="139"/>
                    </a:lnTo>
                    <a:lnTo>
                      <a:pt x="387" y="443"/>
                    </a:lnTo>
                    <a:lnTo>
                      <a:pt x="401" y="727"/>
                    </a:lnTo>
                    <a:lnTo>
                      <a:pt x="409" y="859"/>
                    </a:lnTo>
                  </a:path>
                </a:pathLst>
              </a:custGeom>
              <a:solidFill>
                <a:srgbClr val="349D96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4" name="Freeform 25"/>
              <p:cNvSpPr>
                <a:spLocks/>
              </p:cNvSpPr>
              <p:nvPr/>
            </p:nvSpPr>
            <p:spPr bwMode="auto">
              <a:xfrm>
                <a:off x="3141404" y="4315433"/>
                <a:ext cx="435147" cy="682627"/>
              </a:xfrm>
              <a:custGeom>
                <a:avLst/>
                <a:gdLst/>
                <a:ahLst/>
                <a:cxnLst>
                  <a:cxn ang="0">
                    <a:pos x="504" y="6"/>
                  </a:cxn>
                  <a:cxn ang="0">
                    <a:pos x="499" y="315"/>
                  </a:cxn>
                  <a:cxn ang="0">
                    <a:pos x="437" y="314"/>
                  </a:cxn>
                  <a:cxn ang="0">
                    <a:pos x="437" y="482"/>
                  </a:cxn>
                  <a:cxn ang="0">
                    <a:pos x="437" y="552"/>
                  </a:cxn>
                  <a:cxn ang="0">
                    <a:pos x="504" y="552"/>
                  </a:cxn>
                  <a:cxn ang="0">
                    <a:pos x="494" y="554"/>
                  </a:cxn>
                  <a:cxn ang="0">
                    <a:pos x="487" y="560"/>
                  </a:cxn>
                  <a:cxn ang="0">
                    <a:pos x="487" y="572"/>
                  </a:cxn>
                  <a:cxn ang="0">
                    <a:pos x="494" y="582"/>
                  </a:cxn>
                  <a:cxn ang="0">
                    <a:pos x="496" y="592"/>
                  </a:cxn>
                  <a:cxn ang="0">
                    <a:pos x="494" y="605"/>
                  </a:cxn>
                  <a:cxn ang="0">
                    <a:pos x="422" y="622"/>
                  </a:cxn>
                  <a:cxn ang="0">
                    <a:pos x="396" y="620"/>
                  </a:cxn>
                  <a:cxn ang="0">
                    <a:pos x="369" y="630"/>
                  </a:cxn>
                  <a:cxn ang="0">
                    <a:pos x="349" y="630"/>
                  </a:cxn>
                  <a:cxn ang="0">
                    <a:pos x="300" y="620"/>
                  </a:cxn>
                  <a:cxn ang="0">
                    <a:pos x="289" y="622"/>
                  </a:cxn>
                  <a:cxn ang="0">
                    <a:pos x="262" y="630"/>
                  </a:cxn>
                  <a:cxn ang="0">
                    <a:pos x="237" y="650"/>
                  </a:cxn>
                  <a:cxn ang="0">
                    <a:pos x="238" y="658"/>
                  </a:cxn>
                  <a:cxn ang="0">
                    <a:pos x="232" y="667"/>
                  </a:cxn>
                  <a:cxn ang="0">
                    <a:pos x="224" y="669"/>
                  </a:cxn>
                  <a:cxn ang="0">
                    <a:pos x="215" y="674"/>
                  </a:cxn>
                  <a:cxn ang="0">
                    <a:pos x="204" y="670"/>
                  </a:cxn>
                  <a:cxn ang="0">
                    <a:pos x="197" y="683"/>
                  </a:cxn>
                  <a:cxn ang="0">
                    <a:pos x="182" y="692"/>
                  </a:cxn>
                  <a:cxn ang="0">
                    <a:pos x="168" y="698"/>
                  </a:cxn>
                  <a:cxn ang="0">
                    <a:pos x="137" y="702"/>
                  </a:cxn>
                  <a:cxn ang="0">
                    <a:pos x="98" y="727"/>
                  </a:cxn>
                  <a:cxn ang="0">
                    <a:pos x="73" y="727"/>
                  </a:cxn>
                  <a:cxn ang="0">
                    <a:pos x="45" y="732"/>
                  </a:cxn>
                  <a:cxn ang="0">
                    <a:pos x="33" y="740"/>
                  </a:cxn>
                  <a:cxn ang="0">
                    <a:pos x="0" y="757"/>
                  </a:cxn>
                  <a:cxn ang="0">
                    <a:pos x="0" y="654"/>
                  </a:cxn>
                  <a:cxn ang="0">
                    <a:pos x="5" y="514"/>
                  </a:cxn>
                  <a:cxn ang="0">
                    <a:pos x="10" y="300"/>
                  </a:cxn>
                  <a:cxn ang="0">
                    <a:pos x="12" y="220"/>
                  </a:cxn>
                  <a:cxn ang="0">
                    <a:pos x="18" y="0"/>
                  </a:cxn>
                  <a:cxn ang="0">
                    <a:pos x="25" y="0"/>
                  </a:cxn>
                  <a:cxn ang="0">
                    <a:pos x="210" y="3"/>
                  </a:cxn>
                  <a:cxn ang="0">
                    <a:pos x="504" y="6"/>
                  </a:cxn>
                </a:cxnLst>
                <a:rect l="0" t="0" r="r" b="b"/>
                <a:pathLst>
                  <a:path w="505" h="758">
                    <a:moveTo>
                      <a:pt x="504" y="6"/>
                    </a:moveTo>
                    <a:lnTo>
                      <a:pt x="499" y="315"/>
                    </a:lnTo>
                    <a:lnTo>
                      <a:pt x="437" y="314"/>
                    </a:lnTo>
                    <a:lnTo>
                      <a:pt x="437" y="482"/>
                    </a:lnTo>
                    <a:lnTo>
                      <a:pt x="437" y="552"/>
                    </a:lnTo>
                    <a:lnTo>
                      <a:pt x="504" y="552"/>
                    </a:lnTo>
                    <a:lnTo>
                      <a:pt x="494" y="554"/>
                    </a:lnTo>
                    <a:lnTo>
                      <a:pt x="487" y="560"/>
                    </a:lnTo>
                    <a:lnTo>
                      <a:pt x="487" y="572"/>
                    </a:lnTo>
                    <a:lnTo>
                      <a:pt x="494" y="582"/>
                    </a:lnTo>
                    <a:lnTo>
                      <a:pt x="496" y="592"/>
                    </a:lnTo>
                    <a:lnTo>
                      <a:pt x="494" y="605"/>
                    </a:lnTo>
                    <a:lnTo>
                      <a:pt x="422" y="622"/>
                    </a:lnTo>
                    <a:lnTo>
                      <a:pt x="396" y="620"/>
                    </a:lnTo>
                    <a:lnTo>
                      <a:pt x="369" y="630"/>
                    </a:lnTo>
                    <a:lnTo>
                      <a:pt x="349" y="630"/>
                    </a:lnTo>
                    <a:lnTo>
                      <a:pt x="300" y="620"/>
                    </a:lnTo>
                    <a:lnTo>
                      <a:pt x="289" y="622"/>
                    </a:lnTo>
                    <a:lnTo>
                      <a:pt x="262" y="630"/>
                    </a:lnTo>
                    <a:lnTo>
                      <a:pt x="237" y="650"/>
                    </a:lnTo>
                    <a:lnTo>
                      <a:pt x="238" y="658"/>
                    </a:lnTo>
                    <a:lnTo>
                      <a:pt x="232" y="667"/>
                    </a:lnTo>
                    <a:lnTo>
                      <a:pt x="224" y="669"/>
                    </a:lnTo>
                    <a:lnTo>
                      <a:pt x="215" y="674"/>
                    </a:lnTo>
                    <a:lnTo>
                      <a:pt x="204" y="670"/>
                    </a:lnTo>
                    <a:lnTo>
                      <a:pt x="197" y="683"/>
                    </a:lnTo>
                    <a:lnTo>
                      <a:pt x="182" y="692"/>
                    </a:lnTo>
                    <a:lnTo>
                      <a:pt x="168" y="698"/>
                    </a:lnTo>
                    <a:lnTo>
                      <a:pt x="137" y="702"/>
                    </a:lnTo>
                    <a:lnTo>
                      <a:pt x="98" y="727"/>
                    </a:lnTo>
                    <a:lnTo>
                      <a:pt x="73" y="727"/>
                    </a:lnTo>
                    <a:lnTo>
                      <a:pt x="45" y="732"/>
                    </a:lnTo>
                    <a:lnTo>
                      <a:pt x="33" y="740"/>
                    </a:lnTo>
                    <a:lnTo>
                      <a:pt x="0" y="757"/>
                    </a:lnTo>
                    <a:lnTo>
                      <a:pt x="0" y="654"/>
                    </a:lnTo>
                    <a:lnTo>
                      <a:pt x="5" y="514"/>
                    </a:lnTo>
                    <a:lnTo>
                      <a:pt x="10" y="300"/>
                    </a:lnTo>
                    <a:lnTo>
                      <a:pt x="12" y="220"/>
                    </a:lnTo>
                    <a:lnTo>
                      <a:pt x="18" y="0"/>
                    </a:lnTo>
                    <a:lnTo>
                      <a:pt x="25" y="0"/>
                    </a:lnTo>
                    <a:lnTo>
                      <a:pt x="210" y="3"/>
                    </a:lnTo>
                    <a:lnTo>
                      <a:pt x="504" y="6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5" name="Freeform 84"/>
              <p:cNvSpPr>
                <a:spLocks/>
              </p:cNvSpPr>
              <p:nvPr/>
            </p:nvSpPr>
            <p:spPr bwMode="auto">
              <a:xfrm>
                <a:off x="5681634" y="2928564"/>
                <a:ext cx="465307" cy="656511"/>
              </a:xfrm>
              <a:custGeom>
                <a:avLst/>
                <a:gdLst/>
                <a:ahLst/>
                <a:cxnLst>
                  <a:cxn ang="0">
                    <a:pos x="396" y="5"/>
                  </a:cxn>
                  <a:cxn ang="0">
                    <a:pos x="500" y="0"/>
                  </a:cxn>
                  <a:cxn ang="0">
                    <a:pos x="500" y="59"/>
                  </a:cxn>
                  <a:cxn ang="0">
                    <a:pos x="505" y="147"/>
                  </a:cxn>
                  <a:cxn ang="0">
                    <a:pos x="512" y="277"/>
                  </a:cxn>
                  <a:cxn ang="0">
                    <a:pos x="517" y="377"/>
                  </a:cxn>
                  <a:cxn ang="0">
                    <a:pos x="520" y="417"/>
                  </a:cxn>
                  <a:cxn ang="0">
                    <a:pos x="525" y="472"/>
                  </a:cxn>
                  <a:cxn ang="0">
                    <a:pos x="531" y="611"/>
                  </a:cxn>
                  <a:cxn ang="0">
                    <a:pos x="539" y="706"/>
                  </a:cxn>
                  <a:cxn ang="0">
                    <a:pos x="445" y="711"/>
                  </a:cxn>
                  <a:cxn ang="0">
                    <a:pos x="236" y="720"/>
                  </a:cxn>
                  <a:cxn ang="0">
                    <a:pos x="181" y="721"/>
                  </a:cxn>
                  <a:cxn ang="0">
                    <a:pos x="17" y="728"/>
                  </a:cxn>
                  <a:cxn ang="0">
                    <a:pos x="10" y="596"/>
                  </a:cxn>
                  <a:cxn ang="0">
                    <a:pos x="8" y="441"/>
                  </a:cxn>
                  <a:cxn ang="0">
                    <a:pos x="5" y="412"/>
                  </a:cxn>
                  <a:cxn ang="0">
                    <a:pos x="0" y="219"/>
                  </a:cxn>
                  <a:cxn ang="0">
                    <a:pos x="5" y="225"/>
                  </a:cxn>
                  <a:cxn ang="0">
                    <a:pos x="13" y="232"/>
                  </a:cxn>
                  <a:cxn ang="0">
                    <a:pos x="21" y="225"/>
                  </a:cxn>
                  <a:cxn ang="0">
                    <a:pos x="23" y="217"/>
                  </a:cxn>
                  <a:cxn ang="0">
                    <a:pos x="37" y="215"/>
                  </a:cxn>
                  <a:cxn ang="0">
                    <a:pos x="47" y="215"/>
                  </a:cxn>
                  <a:cxn ang="0">
                    <a:pos x="53" y="207"/>
                  </a:cxn>
                  <a:cxn ang="0">
                    <a:pos x="67" y="199"/>
                  </a:cxn>
                  <a:cxn ang="0">
                    <a:pos x="72" y="190"/>
                  </a:cxn>
                  <a:cxn ang="0">
                    <a:pos x="74" y="183"/>
                  </a:cxn>
                  <a:cxn ang="0">
                    <a:pos x="77" y="170"/>
                  </a:cxn>
                  <a:cxn ang="0">
                    <a:pos x="83" y="163"/>
                  </a:cxn>
                  <a:cxn ang="0">
                    <a:pos x="90" y="159"/>
                  </a:cxn>
                  <a:cxn ang="0">
                    <a:pos x="97" y="165"/>
                  </a:cxn>
                  <a:cxn ang="0">
                    <a:pos x="97" y="175"/>
                  </a:cxn>
                  <a:cxn ang="0">
                    <a:pos x="99" y="187"/>
                  </a:cxn>
                  <a:cxn ang="0">
                    <a:pos x="101" y="199"/>
                  </a:cxn>
                  <a:cxn ang="0">
                    <a:pos x="112" y="207"/>
                  </a:cxn>
                  <a:cxn ang="0">
                    <a:pos x="122" y="207"/>
                  </a:cxn>
                  <a:cxn ang="0">
                    <a:pos x="130" y="215"/>
                  </a:cxn>
                  <a:cxn ang="0">
                    <a:pos x="135" y="223"/>
                  </a:cxn>
                  <a:cxn ang="0">
                    <a:pos x="144" y="235"/>
                  </a:cxn>
                  <a:cxn ang="0">
                    <a:pos x="154" y="241"/>
                  </a:cxn>
                  <a:cxn ang="0">
                    <a:pos x="162" y="237"/>
                  </a:cxn>
                  <a:cxn ang="0">
                    <a:pos x="170" y="235"/>
                  </a:cxn>
                  <a:cxn ang="0">
                    <a:pos x="183" y="237"/>
                  </a:cxn>
                  <a:cxn ang="0">
                    <a:pos x="176" y="10"/>
                  </a:cxn>
                  <a:cxn ang="0">
                    <a:pos x="241" y="10"/>
                  </a:cxn>
                  <a:cxn ang="0">
                    <a:pos x="321" y="5"/>
                  </a:cxn>
                  <a:cxn ang="0">
                    <a:pos x="396" y="5"/>
                  </a:cxn>
                </a:cxnLst>
                <a:rect l="0" t="0" r="r" b="b"/>
                <a:pathLst>
                  <a:path w="540" h="729">
                    <a:moveTo>
                      <a:pt x="396" y="5"/>
                    </a:moveTo>
                    <a:lnTo>
                      <a:pt x="500" y="0"/>
                    </a:lnTo>
                    <a:lnTo>
                      <a:pt x="500" y="59"/>
                    </a:lnTo>
                    <a:lnTo>
                      <a:pt x="505" y="147"/>
                    </a:lnTo>
                    <a:lnTo>
                      <a:pt x="512" y="277"/>
                    </a:lnTo>
                    <a:lnTo>
                      <a:pt x="517" y="377"/>
                    </a:lnTo>
                    <a:lnTo>
                      <a:pt x="520" y="417"/>
                    </a:lnTo>
                    <a:lnTo>
                      <a:pt x="525" y="472"/>
                    </a:lnTo>
                    <a:lnTo>
                      <a:pt x="531" y="611"/>
                    </a:lnTo>
                    <a:lnTo>
                      <a:pt x="539" y="706"/>
                    </a:lnTo>
                    <a:lnTo>
                      <a:pt x="445" y="711"/>
                    </a:lnTo>
                    <a:lnTo>
                      <a:pt x="236" y="720"/>
                    </a:lnTo>
                    <a:lnTo>
                      <a:pt x="181" y="721"/>
                    </a:lnTo>
                    <a:lnTo>
                      <a:pt x="17" y="728"/>
                    </a:lnTo>
                    <a:lnTo>
                      <a:pt x="10" y="596"/>
                    </a:lnTo>
                    <a:lnTo>
                      <a:pt x="8" y="441"/>
                    </a:lnTo>
                    <a:lnTo>
                      <a:pt x="5" y="412"/>
                    </a:lnTo>
                    <a:lnTo>
                      <a:pt x="0" y="219"/>
                    </a:lnTo>
                    <a:lnTo>
                      <a:pt x="5" y="225"/>
                    </a:lnTo>
                    <a:lnTo>
                      <a:pt x="13" y="232"/>
                    </a:lnTo>
                    <a:lnTo>
                      <a:pt x="21" y="225"/>
                    </a:lnTo>
                    <a:lnTo>
                      <a:pt x="23" y="217"/>
                    </a:lnTo>
                    <a:lnTo>
                      <a:pt x="37" y="215"/>
                    </a:lnTo>
                    <a:lnTo>
                      <a:pt x="47" y="215"/>
                    </a:lnTo>
                    <a:lnTo>
                      <a:pt x="53" y="207"/>
                    </a:lnTo>
                    <a:lnTo>
                      <a:pt x="67" y="199"/>
                    </a:lnTo>
                    <a:lnTo>
                      <a:pt x="72" y="190"/>
                    </a:lnTo>
                    <a:lnTo>
                      <a:pt x="74" y="183"/>
                    </a:lnTo>
                    <a:lnTo>
                      <a:pt x="77" y="170"/>
                    </a:lnTo>
                    <a:lnTo>
                      <a:pt x="83" y="163"/>
                    </a:lnTo>
                    <a:lnTo>
                      <a:pt x="90" y="159"/>
                    </a:lnTo>
                    <a:lnTo>
                      <a:pt x="97" y="165"/>
                    </a:lnTo>
                    <a:lnTo>
                      <a:pt x="97" y="175"/>
                    </a:lnTo>
                    <a:lnTo>
                      <a:pt x="99" y="187"/>
                    </a:lnTo>
                    <a:lnTo>
                      <a:pt x="101" y="199"/>
                    </a:lnTo>
                    <a:lnTo>
                      <a:pt x="112" y="207"/>
                    </a:lnTo>
                    <a:lnTo>
                      <a:pt x="122" y="207"/>
                    </a:lnTo>
                    <a:lnTo>
                      <a:pt x="130" y="215"/>
                    </a:lnTo>
                    <a:lnTo>
                      <a:pt x="135" y="223"/>
                    </a:lnTo>
                    <a:lnTo>
                      <a:pt x="144" y="235"/>
                    </a:lnTo>
                    <a:lnTo>
                      <a:pt x="154" y="241"/>
                    </a:lnTo>
                    <a:lnTo>
                      <a:pt x="162" y="237"/>
                    </a:lnTo>
                    <a:lnTo>
                      <a:pt x="170" y="235"/>
                    </a:lnTo>
                    <a:lnTo>
                      <a:pt x="183" y="237"/>
                    </a:lnTo>
                    <a:lnTo>
                      <a:pt x="176" y="10"/>
                    </a:lnTo>
                    <a:lnTo>
                      <a:pt x="241" y="10"/>
                    </a:lnTo>
                    <a:lnTo>
                      <a:pt x="321" y="5"/>
                    </a:lnTo>
                    <a:lnTo>
                      <a:pt x="396" y="5"/>
                    </a:lnTo>
                  </a:path>
                </a:pathLst>
              </a:custGeom>
              <a:solidFill>
                <a:srgbClr val="E8E8E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6" name="Freeform 85"/>
              <p:cNvSpPr>
                <a:spLocks/>
              </p:cNvSpPr>
              <p:nvPr/>
            </p:nvSpPr>
            <p:spPr bwMode="auto">
              <a:xfrm>
                <a:off x="5349887" y="2164887"/>
                <a:ext cx="539411" cy="993322"/>
              </a:xfrm>
              <a:custGeom>
                <a:avLst/>
                <a:gdLst/>
                <a:ahLst/>
                <a:cxnLst>
                  <a:cxn ang="0">
                    <a:pos x="548" y="72"/>
                  </a:cxn>
                  <a:cxn ang="0">
                    <a:pos x="511" y="237"/>
                  </a:cxn>
                  <a:cxn ang="0">
                    <a:pos x="558" y="373"/>
                  </a:cxn>
                  <a:cxn ang="0">
                    <a:pos x="620" y="779"/>
                  </a:cxn>
                  <a:cxn ang="0">
                    <a:pos x="555" y="1085"/>
                  </a:cxn>
                  <a:cxn ang="0">
                    <a:pos x="518" y="1072"/>
                  </a:cxn>
                  <a:cxn ang="0">
                    <a:pos x="486" y="1048"/>
                  </a:cxn>
                  <a:cxn ang="0">
                    <a:pos x="473" y="1008"/>
                  </a:cxn>
                  <a:cxn ang="0">
                    <a:pos x="456" y="1039"/>
                  </a:cxn>
                  <a:cxn ang="0">
                    <a:pos x="423" y="1065"/>
                  </a:cxn>
                  <a:cxn ang="0">
                    <a:pos x="388" y="1074"/>
                  </a:cxn>
                  <a:cxn ang="0">
                    <a:pos x="361" y="1057"/>
                  </a:cxn>
                  <a:cxn ang="0">
                    <a:pos x="329" y="1060"/>
                  </a:cxn>
                  <a:cxn ang="0">
                    <a:pos x="277" y="1065"/>
                  </a:cxn>
                  <a:cxn ang="0">
                    <a:pos x="259" y="1090"/>
                  </a:cxn>
                  <a:cxn ang="0">
                    <a:pos x="215" y="1095"/>
                  </a:cxn>
                  <a:cxn ang="0">
                    <a:pos x="186" y="1067"/>
                  </a:cxn>
                  <a:cxn ang="0">
                    <a:pos x="168" y="1023"/>
                  </a:cxn>
                  <a:cxn ang="0">
                    <a:pos x="140" y="994"/>
                  </a:cxn>
                  <a:cxn ang="0">
                    <a:pos x="110" y="974"/>
                  </a:cxn>
                  <a:cxn ang="0">
                    <a:pos x="80" y="988"/>
                  </a:cxn>
                  <a:cxn ang="0">
                    <a:pos x="39" y="1015"/>
                  </a:cxn>
                  <a:cxn ang="0">
                    <a:pos x="28" y="977"/>
                  </a:cxn>
                  <a:cxn ang="0">
                    <a:pos x="17" y="930"/>
                  </a:cxn>
                  <a:cxn ang="0">
                    <a:pos x="32" y="877"/>
                  </a:cxn>
                  <a:cxn ang="0">
                    <a:pos x="90" y="867"/>
                  </a:cxn>
                  <a:cxn ang="0">
                    <a:pos x="105" y="840"/>
                  </a:cxn>
                  <a:cxn ang="0">
                    <a:pos x="93" y="799"/>
                  </a:cxn>
                  <a:cxn ang="0">
                    <a:pos x="128" y="783"/>
                  </a:cxn>
                  <a:cxn ang="0">
                    <a:pos x="128" y="737"/>
                  </a:cxn>
                  <a:cxn ang="0">
                    <a:pos x="152" y="670"/>
                  </a:cxn>
                  <a:cxn ang="0">
                    <a:pos x="133" y="632"/>
                  </a:cxn>
                  <a:cxn ang="0">
                    <a:pos x="122" y="575"/>
                  </a:cxn>
                  <a:cxn ang="0">
                    <a:pos x="112" y="530"/>
                  </a:cxn>
                  <a:cxn ang="0">
                    <a:pos x="112" y="492"/>
                  </a:cxn>
                  <a:cxn ang="0">
                    <a:pos x="133" y="450"/>
                  </a:cxn>
                  <a:cxn ang="0">
                    <a:pos x="150" y="419"/>
                  </a:cxn>
                  <a:cxn ang="0">
                    <a:pos x="152" y="375"/>
                  </a:cxn>
                  <a:cxn ang="0">
                    <a:pos x="168" y="339"/>
                  </a:cxn>
                  <a:cxn ang="0">
                    <a:pos x="160" y="303"/>
                  </a:cxn>
                  <a:cxn ang="0">
                    <a:pos x="150" y="263"/>
                  </a:cxn>
                  <a:cxn ang="0">
                    <a:pos x="147" y="237"/>
                  </a:cxn>
                  <a:cxn ang="0">
                    <a:pos x="137" y="217"/>
                  </a:cxn>
                  <a:cxn ang="0">
                    <a:pos x="122" y="181"/>
                  </a:cxn>
                  <a:cxn ang="0">
                    <a:pos x="97" y="135"/>
                  </a:cxn>
                  <a:cxn ang="0">
                    <a:pos x="97" y="101"/>
                  </a:cxn>
                  <a:cxn ang="0">
                    <a:pos x="90" y="48"/>
                  </a:cxn>
                  <a:cxn ang="0">
                    <a:pos x="85" y="21"/>
                  </a:cxn>
                </a:cxnLst>
                <a:rect l="0" t="0" r="r" b="b"/>
                <a:pathLst>
                  <a:path w="626" h="1103">
                    <a:moveTo>
                      <a:pt x="97" y="21"/>
                    </a:moveTo>
                    <a:lnTo>
                      <a:pt x="588" y="0"/>
                    </a:lnTo>
                    <a:lnTo>
                      <a:pt x="593" y="72"/>
                    </a:lnTo>
                    <a:lnTo>
                      <a:pt x="548" y="72"/>
                    </a:lnTo>
                    <a:lnTo>
                      <a:pt x="551" y="152"/>
                    </a:lnTo>
                    <a:lnTo>
                      <a:pt x="510" y="153"/>
                    </a:lnTo>
                    <a:lnTo>
                      <a:pt x="511" y="225"/>
                    </a:lnTo>
                    <a:lnTo>
                      <a:pt x="511" y="237"/>
                    </a:lnTo>
                    <a:lnTo>
                      <a:pt x="473" y="237"/>
                    </a:lnTo>
                    <a:lnTo>
                      <a:pt x="473" y="315"/>
                    </a:lnTo>
                    <a:lnTo>
                      <a:pt x="557" y="312"/>
                    </a:lnTo>
                    <a:lnTo>
                      <a:pt x="558" y="373"/>
                    </a:lnTo>
                    <a:lnTo>
                      <a:pt x="564" y="510"/>
                    </a:lnTo>
                    <a:lnTo>
                      <a:pt x="568" y="568"/>
                    </a:lnTo>
                    <a:lnTo>
                      <a:pt x="577" y="783"/>
                    </a:lnTo>
                    <a:lnTo>
                      <a:pt x="620" y="779"/>
                    </a:lnTo>
                    <a:lnTo>
                      <a:pt x="625" y="859"/>
                    </a:lnTo>
                    <a:lnTo>
                      <a:pt x="558" y="859"/>
                    </a:lnTo>
                    <a:lnTo>
                      <a:pt x="568" y="1087"/>
                    </a:lnTo>
                    <a:lnTo>
                      <a:pt x="555" y="1085"/>
                    </a:lnTo>
                    <a:lnTo>
                      <a:pt x="548" y="1087"/>
                    </a:lnTo>
                    <a:lnTo>
                      <a:pt x="536" y="1090"/>
                    </a:lnTo>
                    <a:lnTo>
                      <a:pt x="528" y="1085"/>
                    </a:lnTo>
                    <a:lnTo>
                      <a:pt x="518" y="1072"/>
                    </a:lnTo>
                    <a:lnTo>
                      <a:pt x="513" y="1065"/>
                    </a:lnTo>
                    <a:lnTo>
                      <a:pt x="506" y="1055"/>
                    </a:lnTo>
                    <a:lnTo>
                      <a:pt x="495" y="1055"/>
                    </a:lnTo>
                    <a:lnTo>
                      <a:pt x="486" y="1048"/>
                    </a:lnTo>
                    <a:lnTo>
                      <a:pt x="484" y="1037"/>
                    </a:lnTo>
                    <a:lnTo>
                      <a:pt x="483" y="1025"/>
                    </a:lnTo>
                    <a:lnTo>
                      <a:pt x="483" y="1014"/>
                    </a:lnTo>
                    <a:lnTo>
                      <a:pt x="473" y="1008"/>
                    </a:lnTo>
                    <a:lnTo>
                      <a:pt x="468" y="1012"/>
                    </a:lnTo>
                    <a:lnTo>
                      <a:pt x="461" y="1019"/>
                    </a:lnTo>
                    <a:lnTo>
                      <a:pt x="459" y="1032"/>
                    </a:lnTo>
                    <a:lnTo>
                      <a:pt x="456" y="1039"/>
                    </a:lnTo>
                    <a:lnTo>
                      <a:pt x="449" y="1048"/>
                    </a:lnTo>
                    <a:lnTo>
                      <a:pt x="439" y="1055"/>
                    </a:lnTo>
                    <a:lnTo>
                      <a:pt x="429" y="1065"/>
                    </a:lnTo>
                    <a:lnTo>
                      <a:pt x="423" y="1065"/>
                    </a:lnTo>
                    <a:lnTo>
                      <a:pt x="408" y="1067"/>
                    </a:lnTo>
                    <a:lnTo>
                      <a:pt x="406" y="1074"/>
                    </a:lnTo>
                    <a:lnTo>
                      <a:pt x="399" y="1080"/>
                    </a:lnTo>
                    <a:lnTo>
                      <a:pt x="388" y="1074"/>
                    </a:lnTo>
                    <a:lnTo>
                      <a:pt x="384" y="1070"/>
                    </a:lnTo>
                    <a:lnTo>
                      <a:pt x="377" y="1065"/>
                    </a:lnTo>
                    <a:lnTo>
                      <a:pt x="371" y="1057"/>
                    </a:lnTo>
                    <a:lnTo>
                      <a:pt x="361" y="1057"/>
                    </a:lnTo>
                    <a:lnTo>
                      <a:pt x="353" y="1052"/>
                    </a:lnTo>
                    <a:lnTo>
                      <a:pt x="342" y="1052"/>
                    </a:lnTo>
                    <a:lnTo>
                      <a:pt x="335" y="1060"/>
                    </a:lnTo>
                    <a:lnTo>
                      <a:pt x="329" y="1060"/>
                    </a:lnTo>
                    <a:lnTo>
                      <a:pt x="319" y="1067"/>
                    </a:lnTo>
                    <a:lnTo>
                      <a:pt x="304" y="1070"/>
                    </a:lnTo>
                    <a:lnTo>
                      <a:pt x="286" y="1067"/>
                    </a:lnTo>
                    <a:lnTo>
                      <a:pt x="277" y="1065"/>
                    </a:lnTo>
                    <a:lnTo>
                      <a:pt x="272" y="1065"/>
                    </a:lnTo>
                    <a:lnTo>
                      <a:pt x="264" y="1072"/>
                    </a:lnTo>
                    <a:lnTo>
                      <a:pt x="259" y="1080"/>
                    </a:lnTo>
                    <a:lnTo>
                      <a:pt x="259" y="1090"/>
                    </a:lnTo>
                    <a:lnTo>
                      <a:pt x="241" y="1095"/>
                    </a:lnTo>
                    <a:lnTo>
                      <a:pt x="232" y="1102"/>
                    </a:lnTo>
                    <a:lnTo>
                      <a:pt x="222" y="1102"/>
                    </a:lnTo>
                    <a:lnTo>
                      <a:pt x="215" y="1095"/>
                    </a:lnTo>
                    <a:lnTo>
                      <a:pt x="210" y="1087"/>
                    </a:lnTo>
                    <a:lnTo>
                      <a:pt x="206" y="1080"/>
                    </a:lnTo>
                    <a:lnTo>
                      <a:pt x="200" y="1072"/>
                    </a:lnTo>
                    <a:lnTo>
                      <a:pt x="186" y="1067"/>
                    </a:lnTo>
                    <a:lnTo>
                      <a:pt x="186" y="1055"/>
                    </a:lnTo>
                    <a:lnTo>
                      <a:pt x="182" y="1047"/>
                    </a:lnTo>
                    <a:lnTo>
                      <a:pt x="175" y="1032"/>
                    </a:lnTo>
                    <a:lnTo>
                      <a:pt x="168" y="1023"/>
                    </a:lnTo>
                    <a:lnTo>
                      <a:pt x="157" y="1019"/>
                    </a:lnTo>
                    <a:lnTo>
                      <a:pt x="154" y="1008"/>
                    </a:lnTo>
                    <a:lnTo>
                      <a:pt x="147" y="1003"/>
                    </a:lnTo>
                    <a:lnTo>
                      <a:pt x="140" y="994"/>
                    </a:lnTo>
                    <a:lnTo>
                      <a:pt x="130" y="985"/>
                    </a:lnTo>
                    <a:lnTo>
                      <a:pt x="128" y="974"/>
                    </a:lnTo>
                    <a:lnTo>
                      <a:pt x="117" y="970"/>
                    </a:lnTo>
                    <a:lnTo>
                      <a:pt x="110" y="974"/>
                    </a:lnTo>
                    <a:lnTo>
                      <a:pt x="99" y="970"/>
                    </a:lnTo>
                    <a:lnTo>
                      <a:pt x="93" y="977"/>
                    </a:lnTo>
                    <a:lnTo>
                      <a:pt x="88" y="979"/>
                    </a:lnTo>
                    <a:lnTo>
                      <a:pt x="80" y="988"/>
                    </a:lnTo>
                    <a:lnTo>
                      <a:pt x="66" y="994"/>
                    </a:lnTo>
                    <a:lnTo>
                      <a:pt x="53" y="1008"/>
                    </a:lnTo>
                    <a:lnTo>
                      <a:pt x="48" y="1015"/>
                    </a:lnTo>
                    <a:lnTo>
                      <a:pt x="39" y="1015"/>
                    </a:lnTo>
                    <a:lnTo>
                      <a:pt x="39" y="1007"/>
                    </a:lnTo>
                    <a:lnTo>
                      <a:pt x="32" y="994"/>
                    </a:lnTo>
                    <a:lnTo>
                      <a:pt x="28" y="988"/>
                    </a:lnTo>
                    <a:lnTo>
                      <a:pt x="28" y="977"/>
                    </a:lnTo>
                    <a:lnTo>
                      <a:pt x="30" y="965"/>
                    </a:lnTo>
                    <a:lnTo>
                      <a:pt x="32" y="950"/>
                    </a:lnTo>
                    <a:lnTo>
                      <a:pt x="25" y="940"/>
                    </a:lnTo>
                    <a:lnTo>
                      <a:pt x="17" y="930"/>
                    </a:lnTo>
                    <a:lnTo>
                      <a:pt x="13" y="925"/>
                    </a:lnTo>
                    <a:lnTo>
                      <a:pt x="0" y="895"/>
                    </a:lnTo>
                    <a:lnTo>
                      <a:pt x="25" y="877"/>
                    </a:lnTo>
                    <a:lnTo>
                      <a:pt x="32" y="877"/>
                    </a:lnTo>
                    <a:lnTo>
                      <a:pt x="53" y="883"/>
                    </a:lnTo>
                    <a:lnTo>
                      <a:pt x="75" y="883"/>
                    </a:lnTo>
                    <a:lnTo>
                      <a:pt x="80" y="877"/>
                    </a:lnTo>
                    <a:lnTo>
                      <a:pt x="90" y="867"/>
                    </a:lnTo>
                    <a:lnTo>
                      <a:pt x="97" y="868"/>
                    </a:lnTo>
                    <a:lnTo>
                      <a:pt x="105" y="863"/>
                    </a:lnTo>
                    <a:lnTo>
                      <a:pt x="105" y="852"/>
                    </a:lnTo>
                    <a:lnTo>
                      <a:pt x="105" y="840"/>
                    </a:lnTo>
                    <a:lnTo>
                      <a:pt x="97" y="827"/>
                    </a:lnTo>
                    <a:lnTo>
                      <a:pt x="90" y="819"/>
                    </a:lnTo>
                    <a:lnTo>
                      <a:pt x="88" y="812"/>
                    </a:lnTo>
                    <a:lnTo>
                      <a:pt x="93" y="799"/>
                    </a:lnTo>
                    <a:lnTo>
                      <a:pt x="99" y="799"/>
                    </a:lnTo>
                    <a:lnTo>
                      <a:pt x="110" y="797"/>
                    </a:lnTo>
                    <a:lnTo>
                      <a:pt x="122" y="790"/>
                    </a:lnTo>
                    <a:lnTo>
                      <a:pt x="128" y="783"/>
                    </a:lnTo>
                    <a:lnTo>
                      <a:pt x="128" y="770"/>
                    </a:lnTo>
                    <a:lnTo>
                      <a:pt x="127" y="757"/>
                    </a:lnTo>
                    <a:lnTo>
                      <a:pt x="127" y="748"/>
                    </a:lnTo>
                    <a:lnTo>
                      <a:pt x="128" y="737"/>
                    </a:lnTo>
                    <a:lnTo>
                      <a:pt x="127" y="728"/>
                    </a:lnTo>
                    <a:lnTo>
                      <a:pt x="152" y="697"/>
                    </a:lnTo>
                    <a:lnTo>
                      <a:pt x="159" y="679"/>
                    </a:lnTo>
                    <a:lnTo>
                      <a:pt x="152" y="670"/>
                    </a:lnTo>
                    <a:lnTo>
                      <a:pt x="150" y="657"/>
                    </a:lnTo>
                    <a:lnTo>
                      <a:pt x="144" y="648"/>
                    </a:lnTo>
                    <a:lnTo>
                      <a:pt x="137" y="639"/>
                    </a:lnTo>
                    <a:lnTo>
                      <a:pt x="133" y="632"/>
                    </a:lnTo>
                    <a:lnTo>
                      <a:pt x="130" y="619"/>
                    </a:lnTo>
                    <a:lnTo>
                      <a:pt x="128" y="610"/>
                    </a:lnTo>
                    <a:lnTo>
                      <a:pt x="128" y="585"/>
                    </a:lnTo>
                    <a:lnTo>
                      <a:pt x="122" y="575"/>
                    </a:lnTo>
                    <a:lnTo>
                      <a:pt x="120" y="565"/>
                    </a:lnTo>
                    <a:lnTo>
                      <a:pt x="112" y="553"/>
                    </a:lnTo>
                    <a:lnTo>
                      <a:pt x="112" y="541"/>
                    </a:lnTo>
                    <a:lnTo>
                      <a:pt x="112" y="530"/>
                    </a:lnTo>
                    <a:lnTo>
                      <a:pt x="110" y="519"/>
                    </a:lnTo>
                    <a:lnTo>
                      <a:pt x="105" y="512"/>
                    </a:lnTo>
                    <a:lnTo>
                      <a:pt x="105" y="501"/>
                    </a:lnTo>
                    <a:lnTo>
                      <a:pt x="112" y="492"/>
                    </a:lnTo>
                    <a:lnTo>
                      <a:pt x="119" y="487"/>
                    </a:lnTo>
                    <a:lnTo>
                      <a:pt x="122" y="470"/>
                    </a:lnTo>
                    <a:lnTo>
                      <a:pt x="127" y="457"/>
                    </a:lnTo>
                    <a:lnTo>
                      <a:pt x="133" y="450"/>
                    </a:lnTo>
                    <a:lnTo>
                      <a:pt x="142" y="450"/>
                    </a:lnTo>
                    <a:lnTo>
                      <a:pt x="150" y="443"/>
                    </a:lnTo>
                    <a:lnTo>
                      <a:pt x="147" y="430"/>
                    </a:lnTo>
                    <a:lnTo>
                      <a:pt x="150" y="419"/>
                    </a:lnTo>
                    <a:lnTo>
                      <a:pt x="150" y="408"/>
                    </a:lnTo>
                    <a:lnTo>
                      <a:pt x="152" y="397"/>
                    </a:lnTo>
                    <a:lnTo>
                      <a:pt x="154" y="385"/>
                    </a:lnTo>
                    <a:lnTo>
                      <a:pt x="152" y="375"/>
                    </a:lnTo>
                    <a:lnTo>
                      <a:pt x="154" y="365"/>
                    </a:lnTo>
                    <a:lnTo>
                      <a:pt x="159" y="355"/>
                    </a:lnTo>
                    <a:lnTo>
                      <a:pt x="160" y="345"/>
                    </a:lnTo>
                    <a:lnTo>
                      <a:pt x="168" y="339"/>
                    </a:lnTo>
                    <a:lnTo>
                      <a:pt x="168" y="332"/>
                    </a:lnTo>
                    <a:lnTo>
                      <a:pt x="167" y="321"/>
                    </a:lnTo>
                    <a:lnTo>
                      <a:pt x="164" y="312"/>
                    </a:lnTo>
                    <a:lnTo>
                      <a:pt x="160" y="303"/>
                    </a:lnTo>
                    <a:lnTo>
                      <a:pt x="157" y="290"/>
                    </a:lnTo>
                    <a:lnTo>
                      <a:pt x="157" y="285"/>
                    </a:lnTo>
                    <a:lnTo>
                      <a:pt x="157" y="270"/>
                    </a:lnTo>
                    <a:lnTo>
                      <a:pt x="150" y="263"/>
                    </a:lnTo>
                    <a:lnTo>
                      <a:pt x="157" y="253"/>
                    </a:lnTo>
                    <a:lnTo>
                      <a:pt x="150" y="252"/>
                    </a:lnTo>
                    <a:lnTo>
                      <a:pt x="152" y="243"/>
                    </a:lnTo>
                    <a:lnTo>
                      <a:pt x="147" y="237"/>
                    </a:lnTo>
                    <a:lnTo>
                      <a:pt x="147" y="228"/>
                    </a:lnTo>
                    <a:lnTo>
                      <a:pt x="150" y="219"/>
                    </a:lnTo>
                    <a:lnTo>
                      <a:pt x="147" y="210"/>
                    </a:lnTo>
                    <a:lnTo>
                      <a:pt x="137" y="217"/>
                    </a:lnTo>
                    <a:lnTo>
                      <a:pt x="133" y="208"/>
                    </a:lnTo>
                    <a:lnTo>
                      <a:pt x="128" y="201"/>
                    </a:lnTo>
                    <a:lnTo>
                      <a:pt x="128" y="190"/>
                    </a:lnTo>
                    <a:lnTo>
                      <a:pt x="122" y="181"/>
                    </a:lnTo>
                    <a:lnTo>
                      <a:pt x="119" y="172"/>
                    </a:lnTo>
                    <a:lnTo>
                      <a:pt x="105" y="161"/>
                    </a:lnTo>
                    <a:lnTo>
                      <a:pt x="97" y="148"/>
                    </a:lnTo>
                    <a:lnTo>
                      <a:pt x="97" y="135"/>
                    </a:lnTo>
                    <a:lnTo>
                      <a:pt x="90" y="130"/>
                    </a:lnTo>
                    <a:lnTo>
                      <a:pt x="90" y="117"/>
                    </a:lnTo>
                    <a:lnTo>
                      <a:pt x="93" y="110"/>
                    </a:lnTo>
                    <a:lnTo>
                      <a:pt x="97" y="101"/>
                    </a:lnTo>
                    <a:lnTo>
                      <a:pt x="95" y="92"/>
                    </a:lnTo>
                    <a:lnTo>
                      <a:pt x="88" y="81"/>
                    </a:lnTo>
                    <a:lnTo>
                      <a:pt x="85" y="72"/>
                    </a:lnTo>
                    <a:lnTo>
                      <a:pt x="90" y="48"/>
                    </a:lnTo>
                    <a:lnTo>
                      <a:pt x="80" y="46"/>
                    </a:lnTo>
                    <a:lnTo>
                      <a:pt x="85" y="37"/>
                    </a:lnTo>
                    <a:lnTo>
                      <a:pt x="90" y="28"/>
                    </a:lnTo>
                    <a:lnTo>
                      <a:pt x="85" y="21"/>
                    </a:lnTo>
                    <a:lnTo>
                      <a:pt x="97" y="21"/>
                    </a:lnTo>
                  </a:path>
                </a:pathLst>
              </a:custGeom>
              <a:solidFill>
                <a:srgbClr val="349D96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7" name="Freeform 86"/>
              <p:cNvSpPr>
                <a:spLocks/>
              </p:cNvSpPr>
              <p:nvPr/>
            </p:nvSpPr>
            <p:spPr bwMode="auto">
              <a:xfrm>
                <a:off x="2616641" y="3657121"/>
                <a:ext cx="568708" cy="353021"/>
              </a:xfrm>
              <a:custGeom>
                <a:avLst/>
                <a:gdLst/>
                <a:ahLst/>
                <a:cxnLst>
                  <a:cxn ang="0">
                    <a:pos x="388" y="201"/>
                  </a:cxn>
                  <a:cxn ang="0">
                    <a:pos x="406" y="197"/>
                  </a:cxn>
                  <a:cxn ang="0">
                    <a:pos x="411" y="202"/>
                  </a:cxn>
                  <a:cxn ang="0">
                    <a:pos x="418" y="215"/>
                  </a:cxn>
                  <a:cxn ang="0">
                    <a:pos x="426" y="234"/>
                  </a:cxn>
                  <a:cxn ang="0">
                    <a:pos x="442" y="241"/>
                  </a:cxn>
                  <a:cxn ang="0">
                    <a:pos x="458" y="252"/>
                  </a:cxn>
                  <a:cxn ang="0">
                    <a:pos x="466" y="270"/>
                  </a:cxn>
                  <a:cxn ang="0">
                    <a:pos x="471" y="289"/>
                  </a:cxn>
                  <a:cxn ang="0">
                    <a:pos x="489" y="296"/>
                  </a:cxn>
                  <a:cxn ang="0">
                    <a:pos x="504" y="312"/>
                  </a:cxn>
                  <a:cxn ang="0">
                    <a:pos x="526" y="319"/>
                  </a:cxn>
                  <a:cxn ang="0">
                    <a:pos x="546" y="316"/>
                  </a:cxn>
                  <a:cxn ang="0">
                    <a:pos x="571" y="321"/>
                  </a:cxn>
                  <a:cxn ang="0">
                    <a:pos x="582" y="332"/>
                  </a:cxn>
                  <a:cxn ang="0">
                    <a:pos x="591" y="354"/>
                  </a:cxn>
                  <a:cxn ang="0">
                    <a:pos x="600" y="372"/>
                  </a:cxn>
                  <a:cxn ang="0">
                    <a:pos x="616" y="388"/>
                  </a:cxn>
                  <a:cxn ang="0">
                    <a:pos x="636" y="383"/>
                  </a:cxn>
                  <a:cxn ang="0">
                    <a:pos x="654" y="386"/>
                  </a:cxn>
                  <a:cxn ang="0">
                    <a:pos x="356" y="386"/>
                  </a:cxn>
                  <a:cxn ang="0">
                    <a:pos x="110" y="381"/>
                  </a:cxn>
                  <a:cxn ang="0">
                    <a:pos x="21" y="352"/>
                  </a:cxn>
                  <a:cxn ang="0">
                    <a:pos x="28" y="170"/>
                  </a:cxn>
                  <a:cxn ang="0">
                    <a:pos x="0" y="167"/>
                  </a:cxn>
                  <a:cxn ang="0">
                    <a:pos x="5" y="88"/>
                  </a:cxn>
                  <a:cxn ang="0">
                    <a:pos x="88" y="75"/>
                  </a:cxn>
                  <a:cxn ang="0">
                    <a:pos x="106" y="70"/>
                  </a:cxn>
                  <a:cxn ang="0">
                    <a:pos x="133" y="60"/>
                  </a:cxn>
                  <a:cxn ang="0">
                    <a:pos x="138" y="39"/>
                  </a:cxn>
                  <a:cxn ang="0">
                    <a:pos x="161" y="33"/>
                  </a:cxn>
                  <a:cxn ang="0">
                    <a:pos x="181" y="8"/>
                  </a:cxn>
                  <a:cxn ang="0">
                    <a:pos x="188" y="12"/>
                  </a:cxn>
                  <a:cxn ang="0">
                    <a:pos x="175" y="39"/>
                  </a:cxn>
                  <a:cxn ang="0">
                    <a:pos x="164" y="73"/>
                  </a:cxn>
                  <a:cxn ang="0">
                    <a:pos x="144" y="88"/>
                  </a:cxn>
                  <a:cxn ang="0">
                    <a:pos x="151" y="92"/>
                  </a:cxn>
                  <a:cxn ang="0">
                    <a:pos x="177" y="73"/>
                  </a:cxn>
                  <a:cxn ang="0">
                    <a:pos x="184" y="40"/>
                  </a:cxn>
                  <a:cxn ang="0">
                    <a:pos x="188" y="65"/>
                  </a:cxn>
                  <a:cxn ang="0">
                    <a:pos x="181" y="90"/>
                  </a:cxn>
                  <a:cxn ang="0">
                    <a:pos x="191" y="112"/>
                  </a:cxn>
                  <a:cxn ang="0">
                    <a:pos x="201" y="115"/>
                  </a:cxn>
                  <a:cxn ang="0">
                    <a:pos x="210" y="75"/>
                  </a:cxn>
                  <a:cxn ang="0">
                    <a:pos x="208" y="35"/>
                  </a:cxn>
                  <a:cxn ang="0">
                    <a:pos x="246" y="33"/>
                  </a:cxn>
                  <a:cxn ang="0">
                    <a:pos x="248" y="70"/>
                  </a:cxn>
                  <a:cxn ang="0">
                    <a:pos x="251" y="52"/>
                  </a:cxn>
                  <a:cxn ang="0">
                    <a:pos x="251" y="13"/>
                  </a:cxn>
                  <a:cxn ang="0">
                    <a:pos x="273" y="33"/>
                  </a:cxn>
                  <a:cxn ang="0">
                    <a:pos x="284" y="59"/>
                  </a:cxn>
                  <a:cxn ang="0">
                    <a:pos x="302" y="73"/>
                  </a:cxn>
                  <a:cxn ang="0">
                    <a:pos x="338" y="88"/>
                  </a:cxn>
                  <a:cxn ang="0">
                    <a:pos x="333" y="108"/>
                  </a:cxn>
                  <a:cxn ang="0">
                    <a:pos x="342" y="125"/>
                  </a:cxn>
                  <a:cxn ang="0">
                    <a:pos x="348" y="148"/>
                  </a:cxn>
                  <a:cxn ang="0">
                    <a:pos x="356" y="167"/>
                  </a:cxn>
                  <a:cxn ang="0">
                    <a:pos x="374" y="174"/>
                  </a:cxn>
                  <a:cxn ang="0">
                    <a:pos x="374" y="188"/>
                  </a:cxn>
                </a:cxnLst>
                <a:rect l="0" t="0" r="r" b="b"/>
                <a:pathLst>
                  <a:path w="660" h="392">
                    <a:moveTo>
                      <a:pt x="381" y="197"/>
                    </a:moveTo>
                    <a:lnTo>
                      <a:pt x="388" y="201"/>
                    </a:lnTo>
                    <a:lnTo>
                      <a:pt x="391" y="194"/>
                    </a:lnTo>
                    <a:lnTo>
                      <a:pt x="406" y="197"/>
                    </a:lnTo>
                    <a:lnTo>
                      <a:pt x="413" y="194"/>
                    </a:lnTo>
                    <a:lnTo>
                      <a:pt x="411" y="202"/>
                    </a:lnTo>
                    <a:lnTo>
                      <a:pt x="422" y="207"/>
                    </a:lnTo>
                    <a:lnTo>
                      <a:pt x="418" y="215"/>
                    </a:lnTo>
                    <a:lnTo>
                      <a:pt x="422" y="222"/>
                    </a:lnTo>
                    <a:lnTo>
                      <a:pt x="426" y="234"/>
                    </a:lnTo>
                    <a:lnTo>
                      <a:pt x="436" y="237"/>
                    </a:lnTo>
                    <a:lnTo>
                      <a:pt x="442" y="241"/>
                    </a:lnTo>
                    <a:lnTo>
                      <a:pt x="449" y="250"/>
                    </a:lnTo>
                    <a:lnTo>
                      <a:pt x="458" y="252"/>
                    </a:lnTo>
                    <a:lnTo>
                      <a:pt x="469" y="257"/>
                    </a:lnTo>
                    <a:lnTo>
                      <a:pt x="466" y="270"/>
                    </a:lnTo>
                    <a:lnTo>
                      <a:pt x="471" y="279"/>
                    </a:lnTo>
                    <a:lnTo>
                      <a:pt x="471" y="289"/>
                    </a:lnTo>
                    <a:lnTo>
                      <a:pt x="476" y="296"/>
                    </a:lnTo>
                    <a:lnTo>
                      <a:pt x="489" y="296"/>
                    </a:lnTo>
                    <a:lnTo>
                      <a:pt x="494" y="304"/>
                    </a:lnTo>
                    <a:lnTo>
                      <a:pt x="504" y="312"/>
                    </a:lnTo>
                    <a:lnTo>
                      <a:pt x="514" y="314"/>
                    </a:lnTo>
                    <a:lnTo>
                      <a:pt x="526" y="319"/>
                    </a:lnTo>
                    <a:lnTo>
                      <a:pt x="540" y="319"/>
                    </a:lnTo>
                    <a:lnTo>
                      <a:pt x="546" y="316"/>
                    </a:lnTo>
                    <a:lnTo>
                      <a:pt x="562" y="321"/>
                    </a:lnTo>
                    <a:lnTo>
                      <a:pt x="571" y="321"/>
                    </a:lnTo>
                    <a:lnTo>
                      <a:pt x="578" y="324"/>
                    </a:lnTo>
                    <a:lnTo>
                      <a:pt x="582" y="332"/>
                    </a:lnTo>
                    <a:lnTo>
                      <a:pt x="591" y="336"/>
                    </a:lnTo>
                    <a:lnTo>
                      <a:pt x="591" y="354"/>
                    </a:lnTo>
                    <a:lnTo>
                      <a:pt x="589" y="366"/>
                    </a:lnTo>
                    <a:lnTo>
                      <a:pt x="600" y="372"/>
                    </a:lnTo>
                    <a:lnTo>
                      <a:pt x="609" y="381"/>
                    </a:lnTo>
                    <a:lnTo>
                      <a:pt x="616" y="388"/>
                    </a:lnTo>
                    <a:lnTo>
                      <a:pt x="629" y="383"/>
                    </a:lnTo>
                    <a:lnTo>
                      <a:pt x="636" y="383"/>
                    </a:lnTo>
                    <a:lnTo>
                      <a:pt x="645" y="386"/>
                    </a:lnTo>
                    <a:lnTo>
                      <a:pt x="654" y="386"/>
                    </a:lnTo>
                    <a:lnTo>
                      <a:pt x="659" y="391"/>
                    </a:lnTo>
                    <a:lnTo>
                      <a:pt x="356" y="386"/>
                    </a:lnTo>
                    <a:lnTo>
                      <a:pt x="196" y="383"/>
                    </a:lnTo>
                    <a:lnTo>
                      <a:pt x="110" y="381"/>
                    </a:lnTo>
                    <a:lnTo>
                      <a:pt x="21" y="377"/>
                    </a:lnTo>
                    <a:lnTo>
                      <a:pt x="21" y="352"/>
                    </a:lnTo>
                    <a:lnTo>
                      <a:pt x="25" y="257"/>
                    </a:lnTo>
                    <a:lnTo>
                      <a:pt x="28" y="170"/>
                    </a:lnTo>
                    <a:lnTo>
                      <a:pt x="8" y="170"/>
                    </a:lnTo>
                    <a:lnTo>
                      <a:pt x="0" y="167"/>
                    </a:lnTo>
                    <a:lnTo>
                      <a:pt x="0" y="152"/>
                    </a:lnTo>
                    <a:lnTo>
                      <a:pt x="5" y="88"/>
                    </a:lnTo>
                    <a:lnTo>
                      <a:pt x="88" y="90"/>
                    </a:lnTo>
                    <a:lnTo>
                      <a:pt x="88" y="75"/>
                    </a:lnTo>
                    <a:lnTo>
                      <a:pt x="91" y="70"/>
                    </a:lnTo>
                    <a:lnTo>
                      <a:pt x="106" y="70"/>
                    </a:lnTo>
                    <a:lnTo>
                      <a:pt x="121" y="67"/>
                    </a:lnTo>
                    <a:lnTo>
                      <a:pt x="133" y="60"/>
                    </a:lnTo>
                    <a:lnTo>
                      <a:pt x="138" y="52"/>
                    </a:lnTo>
                    <a:lnTo>
                      <a:pt x="138" y="39"/>
                    </a:lnTo>
                    <a:lnTo>
                      <a:pt x="148" y="35"/>
                    </a:lnTo>
                    <a:lnTo>
                      <a:pt x="161" y="33"/>
                    </a:lnTo>
                    <a:lnTo>
                      <a:pt x="173" y="21"/>
                    </a:lnTo>
                    <a:lnTo>
                      <a:pt x="181" y="8"/>
                    </a:lnTo>
                    <a:lnTo>
                      <a:pt x="183" y="0"/>
                    </a:lnTo>
                    <a:lnTo>
                      <a:pt x="188" y="12"/>
                    </a:lnTo>
                    <a:lnTo>
                      <a:pt x="191" y="23"/>
                    </a:lnTo>
                    <a:lnTo>
                      <a:pt x="175" y="39"/>
                    </a:lnTo>
                    <a:lnTo>
                      <a:pt x="163" y="60"/>
                    </a:lnTo>
                    <a:lnTo>
                      <a:pt x="164" y="73"/>
                    </a:lnTo>
                    <a:lnTo>
                      <a:pt x="155" y="75"/>
                    </a:lnTo>
                    <a:lnTo>
                      <a:pt x="144" y="88"/>
                    </a:lnTo>
                    <a:lnTo>
                      <a:pt x="133" y="100"/>
                    </a:lnTo>
                    <a:lnTo>
                      <a:pt x="151" y="92"/>
                    </a:lnTo>
                    <a:lnTo>
                      <a:pt x="170" y="83"/>
                    </a:lnTo>
                    <a:lnTo>
                      <a:pt x="177" y="73"/>
                    </a:lnTo>
                    <a:lnTo>
                      <a:pt x="175" y="59"/>
                    </a:lnTo>
                    <a:lnTo>
                      <a:pt x="184" y="40"/>
                    </a:lnTo>
                    <a:lnTo>
                      <a:pt x="188" y="55"/>
                    </a:lnTo>
                    <a:lnTo>
                      <a:pt x="188" y="65"/>
                    </a:lnTo>
                    <a:lnTo>
                      <a:pt x="184" y="75"/>
                    </a:lnTo>
                    <a:lnTo>
                      <a:pt x="181" y="90"/>
                    </a:lnTo>
                    <a:lnTo>
                      <a:pt x="186" y="100"/>
                    </a:lnTo>
                    <a:lnTo>
                      <a:pt x="191" y="112"/>
                    </a:lnTo>
                    <a:lnTo>
                      <a:pt x="193" y="125"/>
                    </a:lnTo>
                    <a:lnTo>
                      <a:pt x="201" y="115"/>
                    </a:lnTo>
                    <a:lnTo>
                      <a:pt x="206" y="108"/>
                    </a:lnTo>
                    <a:lnTo>
                      <a:pt x="210" y="75"/>
                    </a:lnTo>
                    <a:lnTo>
                      <a:pt x="201" y="46"/>
                    </a:lnTo>
                    <a:lnTo>
                      <a:pt x="208" y="35"/>
                    </a:lnTo>
                    <a:lnTo>
                      <a:pt x="236" y="17"/>
                    </a:lnTo>
                    <a:lnTo>
                      <a:pt x="246" y="33"/>
                    </a:lnTo>
                    <a:lnTo>
                      <a:pt x="243" y="50"/>
                    </a:lnTo>
                    <a:lnTo>
                      <a:pt x="248" y="70"/>
                    </a:lnTo>
                    <a:lnTo>
                      <a:pt x="255" y="60"/>
                    </a:lnTo>
                    <a:lnTo>
                      <a:pt x="251" y="52"/>
                    </a:lnTo>
                    <a:lnTo>
                      <a:pt x="255" y="23"/>
                    </a:lnTo>
                    <a:lnTo>
                      <a:pt x="251" y="13"/>
                    </a:lnTo>
                    <a:lnTo>
                      <a:pt x="266" y="21"/>
                    </a:lnTo>
                    <a:lnTo>
                      <a:pt x="273" y="33"/>
                    </a:lnTo>
                    <a:lnTo>
                      <a:pt x="276" y="52"/>
                    </a:lnTo>
                    <a:lnTo>
                      <a:pt x="284" y="59"/>
                    </a:lnTo>
                    <a:lnTo>
                      <a:pt x="293" y="60"/>
                    </a:lnTo>
                    <a:lnTo>
                      <a:pt x="302" y="73"/>
                    </a:lnTo>
                    <a:lnTo>
                      <a:pt x="318" y="83"/>
                    </a:lnTo>
                    <a:lnTo>
                      <a:pt x="338" y="88"/>
                    </a:lnTo>
                    <a:lnTo>
                      <a:pt x="333" y="95"/>
                    </a:lnTo>
                    <a:lnTo>
                      <a:pt x="333" y="108"/>
                    </a:lnTo>
                    <a:lnTo>
                      <a:pt x="336" y="115"/>
                    </a:lnTo>
                    <a:lnTo>
                      <a:pt x="342" y="125"/>
                    </a:lnTo>
                    <a:lnTo>
                      <a:pt x="348" y="137"/>
                    </a:lnTo>
                    <a:lnTo>
                      <a:pt x="348" y="148"/>
                    </a:lnTo>
                    <a:lnTo>
                      <a:pt x="351" y="155"/>
                    </a:lnTo>
                    <a:lnTo>
                      <a:pt x="356" y="167"/>
                    </a:lnTo>
                    <a:lnTo>
                      <a:pt x="368" y="170"/>
                    </a:lnTo>
                    <a:lnTo>
                      <a:pt x="374" y="174"/>
                    </a:lnTo>
                    <a:lnTo>
                      <a:pt x="381" y="182"/>
                    </a:lnTo>
                    <a:lnTo>
                      <a:pt x="374" y="188"/>
                    </a:lnTo>
                    <a:lnTo>
                      <a:pt x="381" y="197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8" name="Freeform 87"/>
              <p:cNvSpPr>
                <a:spLocks/>
              </p:cNvSpPr>
              <p:nvPr/>
            </p:nvSpPr>
            <p:spPr bwMode="auto">
              <a:xfrm>
                <a:off x="5019002" y="4129016"/>
                <a:ext cx="612654" cy="498912"/>
              </a:xfrm>
              <a:custGeom>
                <a:avLst/>
                <a:gdLst/>
                <a:ahLst/>
                <a:cxnLst>
                  <a:cxn ang="0">
                    <a:pos x="25" y="349"/>
                  </a:cxn>
                  <a:cxn ang="0">
                    <a:pos x="45" y="339"/>
                  </a:cxn>
                  <a:cxn ang="0">
                    <a:pos x="119" y="326"/>
                  </a:cxn>
                  <a:cxn ang="0">
                    <a:pos x="130" y="311"/>
                  </a:cxn>
                  <a:cxn ang="0">
                    <a:pos x="142" y="294"/>
                  </a:cxn>
                  <a:cxn ang="0">
                    <a:pos x="164" y="289"/>
                  </a:cxn>
                  <a:cxn ang="0">
                    <a:pos x="182" y="284"/>
                  </a:cxn>
                  <a:cxn ang="0">
                    <a:pos x="175" y="264"/>
                  </a:cxn>
                  <a:cxn ang="0">
                    <a:pos x="184" y="244"/>
                  </a:cxn>
                  <a:cxn ang="0">
                    <a:pos x="217" y="227"/>
                  </a:cxn>
                  <a:cxn ang="0">
                    <a:pos x="227" y="209"/>
                  </a:cxn>
                  <a:cxn ang="0">
                    <a:pos x="246" y="197"/>
                  </a:cxn>
                  <a:cxn ang="0">
                    <a:pos x="266" y="173"/>
                  </a:cxn>
                  <a:cxn ang="0">
                    <a:pos x="266" y="152"/>
                  </a:cxn>
                  <a:cxn ang="0">
                    <a:pos x="275" y="117"/>
                  </a:cxn>
                  <a:cxn ang="0">
                    <a:pos x="277" y="93"/>
                  </a:cxn>
                  <a:cxn ang="0">
                    <a:pos x="311" y="65"/>
                  </a:cxn>
                  <a:cxn ang="0">
                    <a:pos x="333" y="35"/>
                  </a:cxn>
                  <a:cxn ang="0">
                    <a:pos x="355" y="26"/>
                  </a:cxn>
                  <a:cxn ang="0">
                    <a:pos x="366" y="12"/>
                  </a:cxn>
                  <a:cxn ang="0">
                    <a:pos x="384" y="10"/>
                  </a:cxn>
                  <a:cxn ang="0">
                    <a:pos x="402" y="17"/>
                  </a:cxn>
                  <a:cxn ang="0">
                    <a:pos x="428" y="20"/>
                  </a:cxn>
                  <a:cxn ang="0">
                    <a:pos x="446" y="6"/>
                  </a:cxn>
                  <a:cxn ang="0">
                    <a:pos x="481" y="0"/>
                  </a:cxn>
                  <a:cxn ang="0">
                    <a:pos x="494" y="6"/>
                  </a:cxn>
                  <a:cxn ang="0">
                    <a:pos x="521" y="1"/>
                  </a:cxn>
                  <a:cxn ang="0">
                    <a:pos x="535" y="35"/>
                  </a:cxn>
                  <a:cxn ang="0">
                    <a:pos x="533" y="274"/>
                  </a:cxn>
                  <a:cxn ang="0">
                    <a:pos x="618" y="272"/>
                  </a:cxn>
                  <a:cxn ang="0">
                    <a:pos x="622" y="349"/>
                  </a:cxn>
                  <a:cxn ang="0">
                    <a:pos x="710" y="532"/>
                  </a:cxn>
                  <a:cxn ang="0">
                    <a:pos x="431" y="543"/>
                  </a:cxn>
                  <a:cxn ang="0">
                    <a:pos x="306" y="546"/>
                  </a:cxn>
                  <a:cxn ang="0">
                    <a:pos x="39" y="553"/>
                  </a:cxn>
                  <a:cxn ang="0">
                    <a:pos x="66" y="528"/>
                  </a:cxn>
                  <a:cxn ang="0">
                    <a:pos x="65" y="506"/>
                  </a:cxn>
                  <a:cxn ang="0">
                    <a:pos x="66" y="483"/>
                  </a:cxn>
                  <a:cxn ang="0">
                    <a:pos x="50" y="439"/>
                  </a:cxn>
                  <a:cxn ang="0">
                    <a:pos x="39" y="421"/>
                  </a:cxn>
                  <a:cxn ang="0">
                    <a:pos x="0" y="381"/>
                  </a:cxn>
                  <a:cxn ang="0">
                    <a:pos x="6" y="362"/>
                  </a:cxn>
                </a:cxnLst>
                <a:rect l="0" t="0" r="r" b="b"/>
                <a:pathLst>
                  <a:path w="711" h="554">
                    <a:moveTo>
                      <a:pt x="15" y="356"/>
                    </a:moveTo>
                    <a:lnTo>
                      <a:pt x="25" y="349"/>
                    </a:lnTo>
                    <a:lnTo>
                      <a:pt x="37" y="346"/>
                    </a:lnTo>
                    <a:lnTo>
                      <a:pt x="45" y="339"/>
                    </a:lnTo>
                    <a:lnTo>
                      <a:pt x="63" y="336"/>
                    </a:lnTo>
                    <a:lnTo>
                      <a:pt x="119" y="326"/>
                    </a:lnTo>
                    <a:lnTo>
                      <a:pt x="124" y="320"/>
                    </a:lnTo>
                    <a:lnTo>
                      <a:pt x="130" y="311"/>
                    </a:lnTo>
                    <a:lnTo>
                      <a:pt x="137" y="304"/>
                    </a:lnTo>
                    <a:lnTo>
                      <a:pt x="142" y="294"/>
                    </a:lnTo>
                    <a:lnTo>
                      <a:pt x="153" y="289"/>
                    </a:lnTo>
                    <a:lnTo>
                      <a:pt x="164" y="289"/>
                    </a:lnTo>
                    <a:lnTo>
                      <a:pt x="173" y="289"/>
                    </a:lnTo>
                    <a:lnTo>
                      <a:pt x="182" y="284"/>
                    </a:lnTo>
                    <a:lnTo>
                      <a:pt x="179" y="274"/>
                    </a:lnTo>
                    <a:lnTo>
                      <a:pt x="175" y="264"/>
                    </a:lnTo>
                    <a:lnTo>
                      <a:pt x="182" y="254"/>
                    </a:lnTo>
                    <a:lnTo>
                      <a:pt x="184" y="244"/>
                    </a:lnTo>
                    <a:lnTo>
                      <a:pt x="195" y="227"/>
                    </a:lnTo>
                    <a:lnTo>
                      <a:pt x="217" y="227"/>
                    </a:lnTo>
                    <a:lnTo>
                      <a:pt x="224" y="222"/>
                    </a:lnTo>
                    <a:lnTo>
                      <a:pt x="227" y="209"/>
                    </a:lnTo>
                    <a:lnTo>
                      <a:pt x="239" y="202"/>
                    </a:lnTo>
                    <a:lnTo>
                      <a:pt x="246" y="197"/>
                    </a:lnTo>
                    <a:lnTo>
                      <a:pt x="255" y="182"/>
                    </a:lnTo>
                    <a:lnTo>
                      <a:pt x="266" y="173"/>
                    </a:lnTo>
                    <a:lnTo>
                      <a:pt x="266" y="162"/>
                    </a:lnTo>
                    <a:lnTo>
                      <a:pt x="266" y="152"/>
                    </a:lnTo>
                    <a:lnTo>
                      <a:pt x="266" y="142"/>
                    </a:lnTo>
                    <a:lnTo>
                      <a:pt x="275" y="117"/>
                    </a:lnTo>
                    <a:lnTo>
                      <a:pt x="274" y="104"/>
                    </a:lnTo>
                    <a:lnTo>
                      <a:pt x="277" y="93"/>
                    </a:lnTo>
                    <a:lnTo>
                      <a:pt x="297" y="72"/>
                    </a:lnTo>
                    <a:lnTo>
                      <a:pt x="311" y="65"/>
                    </a:lnTo>
                    <a:lnTo>
                      <a:pt x="321" y="48"/>
                    </a:lnTo>
                    <a:lnTo>
                      <a:pt x="333" y="35"/>
                    </a:lnTo>
                    <a:lnTo>
                      <a:pt x="344" y="32"/>
                    </a:lnTo>
                    <a:lnTo>
                      <a:pt x="355" y="26"/>
                    </a:lnTo>
                    <a:lnTo>
                      <a:pt x="361" y="20"/>
                    </a:lnTo>
                    <a:lnTo>
                      <a:pt x="366" y="12"/>
                    </a:lnTo>
                    <a:lnTo>
                      <a:pt x="374" y="6"/>
                    </a:lnTo>
                    <a:lnTo>
                      <a:pt x="384" y="10"/>
                    </a:lnTo>
                    <a:lnTo>
                      <a:pt x="389" y="12"/>
                    </a:lnTo>
                    <a:lnTo>
                      <a:pt x="402" y="17"/>
                    </a:lnTo>
                    <a:lnTo>
                      <a:pt x="411" y="20"/>
                    </a:lnTo>
                    <a:lnTo>
                      <a:pt x="428" y="20"/>
                    </a:lnTo>
                    <a:lnTo>
                      <a:pt x="431" y="15"/>
                    </a:lnTo>
                    <a:lnTo>
                      <a:pt x="446" y="6"/>
                    </a:lnTo>
                    <a:lnTo>
                      <a:pt x="471" y="0"/>
                    </a:lnTo>
                    <a:lnTo>
                      <a:pt x="481" y="0"/>
                    </a:lnTo>
                    <a:lnTo>
                      <a:pt x="488" y="3"/>
                    </a:lnTo>
                    <a:lnTo>
                      <a:pt x="494" y="6"/>
                    </a:lnTo>
                    <a:lnTo>
                      <a:pt x="504" y="6"/>
                    </a:lnTo>
                    <a:lnTo>
                      <a:pt x="521" y="1"/>
                    </a:lnTo>
                    <a:lnTo>
                      <a:pt x="533" y="6"/>
                    </a:lnTo>
                    <a:lnTo>
                      <a:pt x="535" y="35"/>
                    </a:lnTo>
                    <a:lnTo>
                      <a:pt x="526" y="35"/>
                    </a:lnTo>
                    <a:lnTo>
                      <a:pt x="533" y="274"/>
                    </a:lnTo>
                    <a:lnTo>
                      <a:pt x="573" y="272"/>
                    </a:lnTo>
                    <a:lnTo>
                      <a:pt x="618" y="272"/>
                    </a:lnTo>
                    <a:lnTo>
                      <a:pt x="618" y="289"/>
                    </a:lnTo>
                    <a:lnTo>
                      <a:pt x="622" y="349"/>
                    </a:lnTo>
                    <a:lnTo>
                      <a:pt x="707" y="347"/>
                    </a:lnTo>
                    <a:lnTo>
                      <a:pt x="710" y="532"/>
                    </a:lnTo>
                    <a:lnTo>
                      <a:pt x="546" y="539"/>
                    </a:lnTo>
                    <a:lnTo>
                      <a:pt x="431" y="543"/>
                    </a:lnTo>
                    <a:lnTo>
                      <a:pt x="413" y="543"/>
                    </a:lnTo>
                    <a:lnTo>
                      <a:pt x="306" y="546"/>
                    </a:lnTo>
                    <a:lnTo>
                      <a:pt x="177" y="550"/>
                    </a:lnTo>
                    <a:lnTo>
                      <a:pt x="39" y="553"/>
                    </a:lnTo>
                    <a:lnTo>
                      <a:pt x="59" y="532"/>
                    </a:lnTo>
                    <a:lnTo>
                      <a:pt x="66" y="528"/>
                    </a:lnTo>
                    <a:lnTo>
                      <a:pt x="70" y="523"/>
                    </a:lnTo>
                    <a:lnTo>
                      <a:pt x="65" y="506"/>
                    </a:lnTo>
                    <a:lnTo>
                      <a:pt x="66" y="496"/>
                    </a:lnTo>
                    <a:lnTo>
                      <a:pt x="66" y="483"/>
                    </a:lnTo>
                    <a:lnTo>
                      <a:pt x="52" y="451"/>
                    </a:lnTo>
                    <a:lnTo>
                      <a:pt x="50" y="439"/>
                    </a:lnTo>
                    <a:lnTo>
                      <a:pt x="46" y="431"/>
                    </a:lnTo>
                    <a:lnTo>
                      <a:pt x="39" y="421"/>
                    </a:lnTo>
                    <a:lnTo>
                      <a:pt x="13" y="394"/>
                    </a:lnTo>
                    <a:lnTo>
                      <a:pt x="0" y="381"/>
                    </a:lnTo>
                    <a:lnTo>
                      <a:pt x="5" y="371"/>
                    </a:lnTo>
                    <a:lnTo>
                      <a:pt x="6" y="362"/>
                    </a:lnTo>
                    <a:lnTo>
                      <a:pt x="15" y="356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9" name="Freeform 88"/>
              <p:cNvSpPr>
                <a:spLocks/>
              </p:cNvSpPr>
              <p:nvPr/>
            </p:nvSpPr>
            <p:spPr bwMode="auto">
              <a:xfrm>
                <a:off x="5467937" y="3567964"/>
                <a:ext cx="709162" cy="681727"/>
              </a:xfrm>
              <a:custGeom>
                <a:avLst/>
                <a:gdLst/>
                <a:ahLst/>
                <a:cxnLst>
                  <a:cxn ang="0">
                    <a:pos x="583" y="588"/>
                  </a:cxn>
                  <a:cxn ang="0">
                    <a:pos x="580" y="563"/>
                  </a:cxn>
                  <a:cxn ang="0">
                    <a:pos x="557" y="552"/>
                  </a:cxn>
                  <a:cxn ang="0">
                    <a:pos x="535" y="530"/>
                  </a:cxn>
                  <a:cxn ang="0">
                    <a:pos x="515" y="512"/>
                  </a:cxn>
                  <a:cxn ang="0">
                    <a:pos x="483" y="532"/>
                  </a:cxn>
                  <a:cxn ang="0">
                    <a:pos x="445" y="539"/>
                  </a:cxn>
                  <a:cxn ang="0">
                    <a:pos x="417" y="536"/>
                  </a:cxn>
                  <a:cxn ang="0">
                    <a:pos x="375" y="516"/>
                  </a:cxn>
                  <a:cxn ang="0">
                    <a:pos x="330" y="532"/>
                  </a:cxn>
                  <a:cxn ang="0">
                    <a:pos x="321" y="564"/>
                  </a:cxn>
                  <a:cxn ang="0">
                    <a:pos x="297" y="588"/>
                  </a:cxn>
                  <a:cxn ang="0">
                    <a:pos x="263" y="591"/>
                  </a:cxn>
                  <a:cxn ang="0">
                    <a:pos x="250" y="614"/>
                  </a:cxn>
                  <a:cxn ang="0">
                    <a:pos x="228" y="624"/>
                  </a:cxn>
                  <a:cxn ang="0">
                    <a:pos x="172" y="624"/>
                  </a:cxn>
                  <a:cxn ang="0">
                    <a:pos x="135" y="637"/>
                  </a:cxn>
                  <a:cxn ang="0">
                    <a:pos x="105" y="646"/>
                  </a:cxn>
                  <a:cxn ang="0">
                    <a:pos x="72" y="657"/>
                  </a:cxn>
                  <a:cxn ang="0">
                    <a:pos x="46" y="648"/>
                  </a:cxn>
                  <a:cxn ang="0">
                    <a:pos x="26" y="624"/>
                  </a:cxn>
                  <a:cxn ang="0">
                    <a:pos x="33" y="596"/>
                  </a:cxn>
                  <a:cxn ang="0">
                    <a:pos x="15" y="578"/>
                  </a:cxn>
                  <a:cxn ang="0">
                    <a:pos x="19" y="548"/>
                  </a:cxn>
                  <a:cxn ang="0">
                    <a:pos x="26" y="496"/>
                  </a:cxn>
                  <a:cxn ang="0">
                    <a:pos x="45" y="486"/>
                  </a:cxn>
                  <a:cxn ang="0">
                    <a:pos x="86" y="468"/>
                  </a:cxn>
                  <a:cxn ang="0">
                    <a:pos x="121" y="463"/>
                  </a:cxn>
                  <a:cxn ang="0">
                    <a:pos x="145" y="446"/>
                  </a:cxn>
                  <a:cxn ang="0">
                    <a:pos x="150" y="426"/>
                  </a:cxn>
                  <a:cxn ang="0">
                    <a:pos x="165" y="403"/>
                  </a:cxn>
                  <a:cxn ang="0">
                    <a:pos x="172" y="380"/>
                  </a:cxn>
                  <a:cxn ang="0">
                    <a:pos x="179" y="190"/>
                  </a:cxn>
                  <a:cxn ang="0">
                    <a:pos x="427" y="13"/>
                  </a:cxn>
                  <a:cxn ang="0">
                    <a:pos x="783" y="0"/>
                  </a:cxn>
                  <a:cxn ang="0">
                    <a:pos x="795" y="258"/>
                  </a:cxn>
                  <a:cxn ang="0">
                    <a:pos x="810" y="521"/>
                  </a:cxn>
                  <a:cxn ang="0">
                    <a:pos x="822" y="748"/>
                  </a:cxn>
                  <a:cxn ang="0">
                    <a:pos x="779" y="751"/>
                  </a:cxn>
                  <a:cxn ang="0">
                    <a:pos x="752" y="748"/>
                  </a:cxn>
                  <a:cxn ang="0">
                    <a:pos x="715" y="756"/>
                  </a:cxn>
                  <a:cxn ang="0">
                    <a:pos x="707" y="729"/>
                  </a:cxn>
                  <a:cxn ang="0">
                    <a:pos x="685" y="711"/>
                  </a:cxn>
                  <a:cxn ang="0">
                    <a:pos x="685" y="676"/>
                  </a:cxn>
                  <a:cxn ang="0">
                    <a:pos x="672" y="648"/>
                  </a:cxn>
                  <a:cxn ang="0">
                    <a:pos x="645" y="623"/>
                  </a:cxn>
                  <a:cxn ang="0">
                    <a:pos x="615" y="614"/>
                  </a:cxn>
                </a:cxnLst>
                <a:rect l="0" t="0" r="r" b="b"/>
                <a:pathLst>
                  <a:path w="823" h="757">
                    <a:moveTo>
                      <a:pt x="600" y="596"/>
                    </a:moveTo>
                    <a:lnTo>
                      <a:pt x="590" y="591"/>
                    </a:lnTo>
                    <a:lnTo>
                      <a:pt x="583" y="588"/>
                    </a:lnTo>
                    <a:lnTo>
                      <a:pt x="577" y="578"/>
                    </a:lnTo>
                    <a:lnTo>
                      <a:pt x="577" y="574"/>
                    </a:lnTo>
                    <a:lnTo>
                      <a:pt x="580" y="563"/>
                    </a:lnTo>
                    <a:lnTo>
                      <a:pt x="575" y="552"/>
                    </a:lnTo>
                    <a:lnTo>
                      <a:pt x="565" y="552"/>
                    </a:lnTo>
                    <a:lnTo>
                      <a:pt x="557" y="552"/>
                    </a:lnTo>
                    <a:lnTo>
                      <a:pt x="547" y="548"/>
                    </a:lnTo>
                    <a:lnTo>
                      <a:pt x="539" y="539"/>
                    </a:lnTo>
                    <a:lnTo>
                      <a:pt x="535" y="530"/>
                    </a:lnTo>
                    <a:lnTo>
                      <a:pt x="533" y="521"/>
                    </a:lnTo>
                    <a:lnTo>
                      <a:pt x="523" y="512"/>
                    </a:lnTo>
                    <a:lnTo>
                      <a:pt x="515" y="512"/>
                    </a:lnTo>
                    <a:lnTo>
                      <a:pt x="505" y="519"/>
                    </a:lnTo>
                    <a:lnTo>
                      <a:pt x="497" y="532"/>
                    </a:lnTo>
                    <a:lnTo>
                      <a:pt x="483" y="532"/>
                    </a:lnTo>
                    <a:lnTo>
                      <a:pt x="472" y="532"/>
                    </a:lnTo>
                    <a:lnTo>
                      <a:pt x="463" y="532"/>
                    </a:lnTo>
                    <a:lnTo>
                      <a:pt x="445" y="539"/>
                    </a:lnTo>
                    <a:lnTo>
                      <a:pt x="433" y="543"/>
                    </a:lnTo>
                    <a:lnTo>
                      <a:pt x="427" y="539"/>
                    </a:lnTo>
                    <a:lnTo>
                      <a:pt x="417" y="536"/>
                    </a:lnTo>
                    <a:lnTo>
                      <a:pt x="407" y="521"/>
                    </a:lnTo>
                    <a:lnTo>
                      <a:pt x="397" y="516"/>
                    </a:lnTo>
                    <a:lnTo>
                      <a:pt x="375" y="516"/>
                    </a:lnTo>
                    <a:lnTo>
                      <a:pt x="368" y="519"/>
                    </a:lnTo>
                    <a:lnTo>
                      <a:pt x="337" y="525"/>
                    </a:lnTo>
                    <a:lnTo>
                      <a:pt x="330" y="532"/>
                    </a:lnTo>
                    <a:lnTo>
                      <a:pt x="328" y="544"/>
                    </a:lnTo>
                    <a:lnTo>
                      <a:pt x="327" y="556"/>
                    </a:lnTo>
                    <a:lnTo>
                      <a:pt x="321" y="564"/>
                    </a:lnTo>
                    <a:lnTo>
                      <a:pt x="317" y="574"/>
                    </a:lnTo>
                    <a:lnTo>
                      <a:pt x="307" y="584"/>
                    </a:lnTo>
                    <a:lnTo>
                      <a:pt x="297" y="588"/>
                    </a:lnTo>
                    <a:lnTo>
                      <a:pt x="288" y="591"/>
                    </a:lnTo>
                    <a:lnTo>
                      <a:pt x="268" y="591"/>
                    </a:lnTo>
                    <a:lnTo>
                      <a:pt x="263" y="591"/>
                    </a:lnTo>
                    <a:lnTo>
                      <a:pt x="257" y="594"/>
                    </a:lnTo>
                    <a:lnTo>
                      <a:pt x="250" y="603"/>
                    </a:lnTo>
                    <a:lnTo>
                      <a:pt x="250" y="614"/>
                    </a:lnTo>
                    <a:lnTo>
                      <a:pt x="246" y="624"/>
                    </a:lnTo>
                    <a:lnTo>
                      <a:pt x="239" y="624"/>
                    </a:lnTo>
                    <a:lnTo>
                      <a:pt x="228" y="624"/>
                    </a:lnTo>
                    <a:lnTo>
                      <a:pt x="201" y="623"/>
                    </a:lnTo>
                    <a:lnTo>
                      <a:pt x="179" y="628"/>
                    </a:lnTo>
                    <a:lnTo>
                      <a:pt x="172" y="624"/>
                    </a:lnTo>
                    <a:lnTo>
                      <a:pt x="157" y="624"/>
                    </a:lnTo>
                    <a:lnTo>
                      <a:pt x="148" y="628"/>
                    </a:lnTo>
                    <a:lnTo>
                      <a:pt x="135" y="637"/>
                    </a:lnTo>
                    <a:lnTo>
                      <a:pt x="125" y="641"/>
                    </a:lnTo>
                    <a:lnTo>
                      <a:pt x="112" y="641"/>
                    </a:lnTo>
                    <a:lnTo>
                      <a:pt x="105" y="646"/>
                    </a:lnTo>
                    <a:lnTo>
                      <a:pt x="97" y="654"/>
                    </a:lnTo>
                    <a:lnTo>
                      <a:pt x="88" y="657"/>
                    </a:lnTo>
                    <a:lnTo>
                      <a:pt x="72" y="657"/>
                    </a:lnTo>
                    <a:lnTo>
                      <a:pt x="63" y="661"/>
                    </a:lnTo>
                    <a:lnTo>
                      <a:pt x="52" y="657"/>
                    </a:lnTo>
                    <a:lnTo>
                      <a:pt x="46" y="648"/>
                    </a:lnTo>
                    <a:lnTo>
                      <a:pt x="33" y="637"/>
                    </a:lnTo>
                    <a:lnTo>
                      <a:pt x="26" y="628"/>
                    </a:lnTo>
                    <a:lnTo>
                      <a:pt x="26" y="624"/>
                    </a:lnTo>
                    <a:lnTo>
                      <a:pt x="30" y="614"/>
                    </a:lnTo>
                    <a:lnTo>
                      <a:pt x="35" y="608"/>
                    </a:lnTo>
                    <a:lnTo>
                      <a:pt x="33" y="596"/>
                    </a:lnTo>
                    <a:lnTo>
                      <a:pt x="26" y="591"/>
                    </a:lnTo>
                    <a:lnTo>
                      <a:pt x="23" y="584"/>
                    </a:lnTo>
                    <a:lnTo>
                      <a:pt x="15" y="578"/>
                    </a:lnTo>
                    <a:lnTo>
                      <a:pt x="13" y="568"/>
                    </a:lnTo>
                    <a:lnTo>
                      <a:pt x="15" y="556"/>
                    </a:lnTo>
                    <a:lnTo>
                      <a:pt x="19" y="548"/>
                    </a:lnTo>
                    <a:lnTo>
                      <a:pt x="0" y="503"/>
                    </a:lnTo>
                    <a:lnTo>
                      <a:pt x="8" y="498"/>
                    </a:lnTo>
                    <a:lnTo>
                      <a:pt x="26" y="496"/>
                    </a:lnTo>
                    <a:lnTo>
                      <a:pt x="30" y="492"/>
                    </a:lnTo>
                    <a:lnTo>
                      <a:pt x="35" y="483"/>
                    </a:lnTo>
                    <a:lnTo>
                      <a:pt x="45" y="486"/>
                    </a:lnTo>
                    <a:lnTo>
                      <a:pt x="57" y="483"/>
                    </a:lnTo>
                    <a:lnTo>
                      <a:pt x="63" y="476"/>
                    </a:lnTo>
                    <a:lnTo>
                      <a:pt x="86" y="468"/>
                    </a:lnTo>
                    <a:lnTo>
                      <a:pt x="93" y="463"/>
                    </a:lnTo>
                    <a:lnTo>
                      <a:pt x="103" y="458"/>
                    </a:lnTo>
                    <a:lnTo>
                      <a:pt x="121" y="463"/>
                    </a:lnTo>
                    <a:lnTo>
                      <a:pt x="135" y="463"/>
                    </a:lnTo>
                    <a:lnTo>
                      <a:pt x="137" y="453"/>
                    </a:lnTo>
                    <a:lnTo>
                      <a:pt x="145" y="446"/>
                    </a:lnTo>
                    <a:lnTo>
                      <a:pt x="153" y="446"/>
                    </a:lnTo>
                    <a:lnTo>
                      <a:pt x="152" y="434"/>
                    </a:lnTo>
                    <a:lnTo>
                      <a:pt x="150" y="426"/>
                    </a:lnTo>
                    <a:lnTo>
                      <a:pt x="157" y="421"/>
                    </a:lnTo>
                    <a:lnTo>
                      <a:pt x="163" y="413"/>
                    </a:lnTo>
                    <a:lnTo>
                      <a:pt x="165" y="403"/>
                    </a:lnTo>
                    <a:lnTo>
                      <a:pt x="159" y="398"/>
                    </a:lnTo>
                    <a:lnTo>
                      <a:pt x="165" y="389"/>
                    </a:lnTo>
                    <a:lnTo>
                      <a:pt x="172" y="380"/>
                    </a:lnTo>
                    <a:lnTo>
                      <a:pt x="179" y="374"/>
                    </a:lnTo>
                    <a:lnTo>
                      <a:pt x="186" y="331"/>
                    </a:lnTo>
                    <a:lnTo>
                      <a:pt x="179" y="190"/>
                    </a:lnTo>
                    <a:lnTo>
                      <a:pt x="173" y="21"/>
                    </a:lnTo>
                    <a:lnTo>
                      <a:pt x="263" y="17"/>
                    </a:lnTo>
                    <a:lnTo>
                      <a:pt x="427" y="13"/>
                    </a:lnTo>
                    <a:lnTo>
                      <a:pt x="480" y="10"/>
                    </a:lnTo>
                    <a:lnTo>
                      <a:pt x="690" y="3"/>
                    </a:lnTo>
                    <a:lnTo>
                      <a:pt x="783" y="0"/>
                    </a:lnTo>
                    <a:lnTo>
                      <a:pt x="783" y="17"/>
                    </a:lnTo>
                    <a:lnTo>
                      <a:pt x="788" y="111"/>
                    </a:lnTo>
                    <a:lnTo>
                      <a:pt x="795" y="258"/>
                    </a:lnTo>
                    <a:lnTo>
                      <a:pt x="803" y="376"/>
                    </a:lnTo>
                    <a:lnTo>
                      <a:pt x="805" y="394"/>
                    </a:lnTo>
                    <a:lnTo>
                      <a:pt x="810" y="521"/>
                    </a:lnTo>
                    <a:lnTo>
                      <a:pt x="814" y="568"/>
                    </a:lnTo>
                    <a:lnTo>
                      <a:pt x="815" y="643"/>
                    </a:lnTo>
                    <a:lnTo>
                      <a:pt x="822" y="748"/>
                    </a:lnTo>
                    <a:lnTo>
                      <a:pt x="810" y="744"/>
                    </a:lnTo>
                    <a:lnTo>
                      <a:pt x="805" y="748"/>
                    </a:lnTo>
                    <a:lnTo>
                      <a:pt x="779" y="751"/>
                    </a:lnTo>
                    <a:lnTo>
                      <a:pt x="772" y="751"/>
                    </a:lnTo>
                    <a:lnTo>
                      <a:pt x="759" y="751"/>
                    </a:lnTo>
                    <a:lnTo>
                      <a:pt x="752" y="748"/>
                    </a:lnTo>
                    <a:lnTo>
                      <a:pt x="740" y="748"/>
                    </a:lnTo>
                    <a:lnTo>
                      <a:pt x="723" y="756"/>
                    </a:lnTo>
                    <a:lnTo>
                      <a:pt x="715" y="756"/>
                    </a:lnTo>
                    <a:lnTo>
                      <a:pt x="707" y="751"/>
                    </a:lnTo>
                    <a:lnTo>
                      <a:pt x="707" y="744"/>
                    </a:lnTo>
                    <a:lnTo>
                      <a:pt x="707" y="729"/>
                    </a:lnTo>
                    <a:lnTo>
                      <a:pt x="700" y="721"/>
                    </a:lnTo>
                    <a:lnTo>
                      <a:pt x="692" y="719"/>
                    </a:lnTo>
                    <a:lnTo>
                      <a:pt x="685" y="711"/>
                    </a:lnTo>
                    <a:lnTo>
                      <a:pt x="685" y="701"/>
                    </a:lnTo>
                    <a:lnTo>
                      <a:pt x="690" y="686"/>
                    </a:lnTo>
                    <a:lnTo>
                      <a:pt x="685" y="676"/>
                    </a:lnTo>
                    <a:lnTo>
                      <a:pt x="680" y="666"/>
                    </a:lnTo>
                    <a:lnTo>
                      <a:pt x="677" y="657"/>
                    </a:lnTo>
                    <a:lnTo>
                      <a:pt x="672" y="648"/>
                    </a:lnTo>
                    <a:lnTo>
                      <a:pt x="668" y="641"/>
                    </a:lnTo>
                    <a:lnTo>
                      <a:pt x="650" y="631"/>
                    </a:lnTo>
                    <a:lnTo>
                      <a:pt x="645" y="623"/>
                    </a:lnTo>
                    <a:lnTo>
                      <a:pt x="637" y="617"/>
                    </a:lnTo>
                    <a:lnTo>
                      <a:pt x="623" y="617"/>
                    </a:lnTo>
                    <a:lnTo>
                      <a:pt x="615" y="614"/>
                    </a:lnTo>
                    <a:lnTo>
                      <a:pt x="607" y="608"/>
                    </a:lnTo>
                    <a:lnTo>
                      <a:pt x="600" y="596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r>
                  <a:rPr lang="en-US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</a:rPr>
                  <a:t> </a:t>
                </a:r>
              </a:p>
            </p:txBody>
          </p:sp>
          <p:sp>
            <p:nvSpPr>
              <p:cNvPr id="90" name="Freeform 89"/>
              <p:cNvSpPr>
                <a:spLocks/>
              </p:cNvSpPr>
              <p:nvPr/>
            </p:nvSpPr>
            <p:spPr bwMode="auto">
              <a:xfrm>
                <a:off x="3573104" y="3757984"/>
                <a:ext cx="965942" cy="848331"/>
              </a:xfrm>
              <a:custGeom>
                <a:avLst/>
                <a:gdLst/>
                <a:ahLst/>
                <a:cxnLst>
                  <a:cxn ang="0">
                    <a:pos x="819" y="941"/>
                  </a:cxn>
                  <a:cxn ang="0">
                    <a:pos x="50" y="936"/>
                  </a:cxn>
                  <a:cxn ang="0">
                    <a:pos x="15" y="626"/>
                  </a:cxn>
                  <a:cxn ang="0">
                    <a:pos x="46" y="626"/>
                  </a:cxn>
                  <a:cxn ang="0">
                    <a:pos x="83" y="626"/>
                  </a:cxn>
                  <a:cxn ang="0">
                    <a:pos x="85" y="595"/>
                  </a:cxn>
                  <a:cxn ang="0">
                    <a:pos x="66" y="558"/>
                  </a:cxn>
                  <a:cxn ang="0">
                    <a:pos x="65" y="529"/>
                  </a:cxn>
                  <a:cxn ang="0">
                    <a:pos x="46" y="506"/>
                  </a:cxn>
                  <a:cxn ang="0">
                    <a:pos x="66" y="488"/>
                  </a:cxn>
                  <a:cxn ang="0">
                    <a:pos x="68" y="461"/>
                  </a:cxn>
                  <a:cxn ang="0">
                    <a:pos x="80" y="438"/>
                  </a:cxn>
                  <a:cxn ang="0">
                    <a:pos x="92" y="415"/>
                  </a:cxn>
                  <a:cxn ang="0">
                    <a:pos x="73" y="390"/>
                  </a:cxn>
                  <a:cxn ang="0">
                    <a:pos x="79" y="361"/>
                  </a:cxn>
                  <a:cxn ang="0">
                    <a:pos x="103" y="351"/>
                  </a:cxn>
                  <a:cxn ang="0">
                    <a:pos x="115" y="331"/>
                  </a:cxn>
                  <a:cxn ang="0">
                    <a:pos x="88" y="323"/>
                  </a:cxn>
                  <a:cxn ang="0">
                    <a:pos x="68" y="301"/>
                  </a:cxn>
                  <a:cxn ang="0">
                    <a:pos x="53" y="278"/>
                  </a:cxn>
                  <a:cxn ang="0">
                    <a:pos x="48" y="253"/>
                  </a:cxn>
                  <a:cxn ang="0">
                    <a:pos x="33" y="223"/>
                  </a:cxn>
                  <a:cxn ang="0">
                    <a:pos x="21" y="198"/>
                  </a:cxn>
                  <a:cxn ang="0">
                    <a:pos x="10" y="181"/>
                  </a:cxn>
                  <a:cxn ang="0">
                    <a:pos x="28" y="153"/>
                  </a:cxn>
                  <a:cxn ang="0">
                    <a:pos x="50" y="141"/>
                  </a:cxn>
                  <a:cxn ang="0">
                    <a:pos x="48" y="108"/>
                  </a:cxn>
                  <a:cxn ang="0">
                    <a:pos x="68" y="88"/>
                  </a:cxn>
                  <a:cxn ang="0">
                    <a:pos x="83" y="65"/>
                  </a:cxn>
                  <a:cxn ang="0">
                    <a:pos x="103" y="18"/>
                  </a:cxn>
                  <a:cxn ang="0">
                    <a:pos x="103" y="1"/>
                  </a:cxn>
                  <a:cxn ang="0">
                    <a:pos x="125" y="5"/>
                  </a:cxn>
                  <a:cxn ang="0">
                    <a:pos x="148" y="1"/>
                  </a:cxn>
                  <a:cxn ang="0">
                    <a:pos x="175" y="1"/>
                  </a:cxn>
                  <a:cxn ang="0">
                    <a:pos x="205" y="15"/>
                  </a:cxn>
                  <a:cxn ang="0">
                    <a:pos x="228" y="35"/>
                  </a:cxn>
                  <a:cxn ang="0">
                    <a:pos x="250" y="53"/>
                  </a:cxn>
                  <a:cxn ang="0">
                    <a:pos x="270" y="75"/>
                  </a:cxn>
                  <a:cxn ang="0">
                    <a:pos x="297" y="106"/>
                  </a:cxn>
                  <a:cxn ang="0">
                    <a:pos x="314" y="133"/>
                  </a:cxn>
                  <a:cxn ang="0">
                    <a:pos x="335" y="157"/>
                  </a:cxn>
                  <a:cxn ang="0">
                    <a:pos x="681" y="231"/>
                  </a:cxn>
                  <a:cxn ang="0">
                    <a:pos x="1041" y="311"/>
                  </a:cxn>
                  <a:cxn ang="0">
                    <a:pos x="1061" y="370"/>
                  </a:cxn>
                  <a:cxn ang="0">
                    <a:pos x="1083" y="390"/>
                  </a:cxn>
                  <a:cxn ang="0">
                    <a:pos x="1106" y="406"/>
                  </a:cxn>
                  <a:cxn ang="0">
                    <a:pos x="1117" y="861"/>
                  </a:cxn>
                </a:cxnLst>
                <a:rect l="0" t="0" r="r" b="b"/>
                <a:pathLst>
                  <a:path w="1121" h="942">
                    <a:moveTo>
                      <a:pt x="1117" y="861"/>
                    </a:moveTo>
                    <a:lnTo>
                      <a:pt x="1120" y="936"/>
                    </a:lnTo>
                    <a:lnTo>
                      <a:pt x="819" y="941"/>
                    </a:lnTo>
                    <a:lnTo>
                      <a:pt x="799" y="941"/>
                    </a:lnTo>
                    <a:lnTo>
                      <a:pt x="237" y="936"/>
                    </a:lnTo>
                    <a:lnTo>
                      <a:pt x="50" y="936"/>
                    </a:lnTo>
                    <a:lnTo>
                      <a:pt x="0" y="936"/>
                    </a:lnTo>
                    <a:lnTo>
                      <a:pt x="1" y="626"/>
                    </a:lnTo>
                    <a:lnTo>
                      <a:pt x="15" y="626"/>
                    </a:lnTo>
                    <a:lnTo>
                      <a:pt x="32" y="621"/>
                    </a:lnTo>
                    <a:lnTo>
                      <a:pt x="41" y="621"/>
                    </a:lnTo>
                    <a:lnTo>
                      <a:pt x="46" y="626"/>
                    </a:lnTo>
                    <a:lnTo>
                      <a:pt x="57" y="624"/>
                    </a:lnTo>
                    <a:lnTo>
                      <a:pt x="72" y="624"/>
                    </a:lnTo>
                    <a:lnTo>
                      <a:pt x="83" y="626"/>
                    </a:lnTo>
                    <a:lnTo>
                      <a:pt x="88" y="618"/>
                    </a:lnTo>
                    <a:lnTo>
                      <a:pt x="92" y="602"/>
                    </a:lnTo>
                    <a:lnTo>
                      <a:pt x="85" y="595"/>
                    </a:lnTo>
                    <a:lnTo>
                      <a:pt x="79" y="589"/>
                    </a:lnTo>
                    <a:lnTo>
                      <a:pt x="73" y="563"/>
                    </a:lnTo>
                    <a:lnTo>
                      <a:pt x="66" y="558"/>
                    </a:lnTo>
                    <a:lnTo>
                      <a:pt x="59" y="549"/>
                    </a:lnTo>
                    <a:lnTo>
                      <a:pt x="65" y="538"/>
                    </a:lnTo>
                    <a:lnTo>
                      <a:pt x="65" y="529"/>
                    </a:lnTo>
                    <a:lnTo>
                      <a:pt x="53" y="526"/>
                    </a:lnTo>
                    <a:lnTo>
                      <a:pt x="48" y="516"/>
                    </a:lnTo>
                    <a:lnTo>
                      <a:pt x="46" y="506"/>
                    </a:lnTo>
                    <a:lnTo>
                      <a:pt x="48" y="493"/>
                    </a:lnTo>
                    <a:lnTo>
                      <a:pt x="57" y="491"/>
                    </a:lnTo>
                    <a:lnTo>
                      <a:pt x="66" y="488"/>
                    </a:lnTo>
                    <a:lnTo>
                      <a:pt x="72" y="483"/>
                    </a:lnTo>
                    <a:lnTo>
                      <a:pt x="72" y="471"/>
                    </a:lnTo>
                    <a:lnTo>
                      <a:pt x="68" y="461"/>
                    </a:lnTo>
                    <a:lnTo>
                      <a:pt x="73" y="456"/>
                    </a:lnTo>
                    <a:lnTo>
                      <a:pt x="80" y="451"/>
                    </a:lnTo>
                    <a:lnTo>
                      <a:pt x="80" y="438"/>
                    </a:lnTo>
                    <a:lnTo>
                      <a:pt x="83" y="430"/>
                    </a:lnTo>
                    <a:lnTo>
                      <a:pt x="88" y="423"/>
                    </a:lnTo>
                    <a:lnTo>
                      <a:pt x="92" y="415"/>
                    </a:lnTo>
                    <a:lnTo>
                      <a:pt x="93" y="404"/>
                    </a:lnTo>
                    <a:lnTo>
                      <a:pt x="88" y="395"/>
                    </a:lnTo>
                    <a:lnTo>
                      <a:pt x="73" y="390"/>
                    </a:lnTo>
                    <a:lnTo>
                      <a:pt x="73" y="381"/>
                    </a:lnTo>
                    <a:lnTo>
                      <a:pt x="77" y="370"/>
                    </a:lnTo>
                    <a:lnTo>
                      <a:pt x="79" y="361"/>
                    </a:lnTo>
                    <a:lnTo>
                      <a:pt x="88" y="358"/>
                    </a:lnTo>
                    <a:lnTo>
                      <a:pt x="97" y="358"/>
                    </a:lnTo>
                    <a:lnTo>
                      <a:pt x="103" y="351"/>
                    </a:lnTo>
                    <a:lnTo>
                      <a:pt x="99" y="343"/>
                    </a:lnTo>
                    <a:lnTo>
                      <a:pt x="107" y="337"/>
                    </a:lnTo>
                    <a:lnTo>
                      <a:pt x="115" y="331"/>
                    </a:lnTo>
                    <a:lnTo>
                      <a:pt x="108" y="326"/>
                    </a:lnTo>
                    <a:lnTo>
                      <a:pt x="97" y="321"/>
                    </a:lnTo>
                    <a:lnTo>
                      <a:pt x="88" y="323"/>
                    </a:lnTo>
                    <a:lnTo>
                      <a:pt x="79" y="317"/>
                    </a:lnTo>
                    <a:lnTo>
                      <a:pt x="66" y="311"/>
                    </a:lnTo>
                    <a:lnTo>
                      <a:pt x="68" y="301"/>
                    </a:lnTo>
                    <a:lnTo>
                      <a:pt x="66" y="293"/>
                    </a:lnTo>
                    <a:lnTo>
                      <a:pt x="57" y="288"/>
                    </a:lnTo>
                    <a:lnTo>
                      <a:pt x="53" y="278"/>
                    </a:lnTo>
                    <a:lnTo>
                      <a:pt x="48" y="271"/>
                    </a:lnTo>
                    <a:lnTo>
                      <a:pt x="53" y="263"/>
                    </a:lnTo>
                    <a:lnTo>
                      <a:pt x="48" y="253"/>
                    </a:lnTo>
                    <a:lnTo>
                      <a:pt x="43" y="244"/>
                    </a:lnTo>
                    <a:lnTo>
                      <a:pt x="37" y="231"/>
                    </a:lnTo>
                    <a:lnTo>
                      <a:pt x="33" y="223"/>
                    </a:lnTo>
                    <a:lnTo>
                      <a:pt x="30" y="218"/>
                    </a:lnTo>
                    <a:lnTo>
                      <a:pt x="23" y="206"/>
                    </a:lnTo>
                    <a:lnTo>
                      <a:pt x="21" y="198"/>
                    </a:lnTo>
                    <a:lnTo>
                      <a:pt x="12" y="193"/>
                    </a:lnTo>
                    <a:lnTo>
                      <a:pt x="5" y="186"/>
                    </a:lnTo>
                    <a:lnTo>
                      <a:pt x="10" y="181"/>
                    </a:lnTo>
                    <a:lnTo>
                      <a:pt x="12" y="170"/>
                    </a:lnTo>
                    <a:lnTo>
                      <a:pt x="21" y="161"/>
                    </a:lnTo>
                    <a:lnTo>
                      <a:pt x="28" y="153"/>
                    </a:lnTo>
                    <a:lnTo>
                      <a:pt x="35" y="151"/>
                    </a:lnTo>
                    <a:lnTo>
                      <a:pt x="43" y="146"/>
                    </a:lnTo>
                    <a:lnTo>
                      <a:pt x="50" y="141"/>
                    </a:lnTo>
                    <a:lnTo>
                      <a:pt x="53" y="131"/>
                    </a:lnTo>
                    <a:lnTo>
                      <a:pt x="50" y="121"/>
                    </a:lnTo>
                    <a:lnTo>
                      <a:pt x="48" y="108"/>
                    </a:lnTo>
                    <a:lnTo>
                      <a:pt x="55" y="105"/>
                    </a:lnTo>
                    <a:lnTo>
                      <a:pt x="57" y="92"/>
                    </a:lnTo>
                    <a:lnTo>
                      <a:pt x="68" y="88"/>
                    </a:lnTo>
                    <a:lnTo>
                      <a:pt x="73" y="83"/>
                    </a:lnTo>
                    <a:lnTo>
                      <a:pt x="80" y="73"/>
                    </a:lnTo>
                    <a:lnTo>
                      <a:pt x="83" y="65"/>
                    </a:lnTo>
                    <a:lnTo>
                      <a:pt x="88" y="55"/>
                    </a:lnTo>
                    <a:lnTo>
                      <a:pt x="88" y="45"/>
                    </a:lnTo>
                    <a:lnTo>
                      <a:pt x="103" y="18"/>
                    </a:lnTo>
                    <a:lnTo>
                      <a:pt x="103" y="6"/>
                    </a:lnTo>
                    <a:lnTo>
                      <a:pt x="103" y="0"/>
                    </a:lnTo>
                    <a:lnTo>
                      <a:pt x="103" y="1"/>
                    </a:lnTo>
                    <a:lnTo>
                      <a:pt x="108" y="6"/>
                    </a:lnTo>
                    <a:lnTo>
                      <a:pt x="115" y="13"/>
                    </a:lnTo>
                    <a:lnTo>
                      <a:pt x="125" y="5"/>
                    </a:lnTo>
                    <a:lnTo>
                      <a:pt x="135" y="10"/>
                    </a:lnTo>
                    <a:lnTo>
                      <a:pt x="143" y="6"/>
                    </a:lnTo>
                    <a:lnTo>
                      <a:pt x="148" y="1"/>
                    </a:lnTo>
                    <a:lnTo>
                      <a:pt x="159" y="0"/>
                    </a:lnTo>
                    <a:lnTo>
                      <a:pt x="168" y="0"/>
                    </a:lnTo>
                    <a:lnTo>
                      <a:pt x="175" y="1"/>
                    </a:lnTo>
                    <a:lnTo>
                      <a:pt x="185" y="5"/>
                    </a:lnTo>
                    <a:lnTo>
                      <a:pt x="197" y="10"/>
                    </a:lnTo>
                    <a:lnTo>
                      <a:pt x="205" y="15"/>
                    </a:lnTo>
                    <a:lnTo>
                      <a:pt x="210" y="25"/>
                    </a:lnTo>
                    <a:lnTo>
                      <a:pt x="217" y="30"/>
                    </a:lnTo>
                    <a:lnTo>
                      <a:pt x="228" y="35"/>
                    </a:lnTo>
                    <a:lnTo>
                      <a:pt x="237" y="43"/>
                    </a:lnTo>
                    <a:lnTo>
                      <a:pt x="245" y="48"/>
                    </a:lnTo>
                    <a:lnTo>
                      <a:pt x="250" y="53"/>
                    </a:lnTo>
                    <a:lnTo>
                      <a:pt x="257" y="55"/>
                    </a:lnTo>
                    <a:lnTo>
                      <a:pt x="268" y="66"/>
                    </a:lnTo>
                    <a:lnTo>
                      <a:pt x="270" y="75"/>
                    </a:lnTo>
                    <a:lnTo>
                      <a:pt x="284" y="81"/>
                    </a:lnTo>
                    <a:lnTo>
                      <a:pt x="294" y="85"/>
                    </a:lnTo>
                    <a:lnTo>
                      <a:pt x="297" y="106"/>
                    </a:lnTo>
                    <a:lnTo>
                      <a:pt x="307" y="113"/>
                    </a:lnTo>
                    <a:lnTo>
                      <a:pt x="310" y="123"/>
                    </a:lnTo>
                    <a:lnTo>
                      <a:pt x="314" y="133"/>
                    </a:lnTo>
                    <a:lnTo>
                      <a:pt x="324" y="137"/>
                    </a:lnTo>
                    <a:lnTo>
                      <a:pt x="324" y="146"/>
                    </a:lnTo>
                    <a:lnTo>
                      <a:pt x="335" y="157"/>
                    </a:lnTo>
                    <a:lnTo>
                      <a:pt x="597" y="153"/>
                    </a:lnTo>
                    <a:lnTo>
                      <a:pt x="597" y="231"/>
                    </a:lnTo>
                    <a:lnTo>
                      <a:pt x="681" y="231"/>
                    </a:lnTo>
                    <a:lnTo>
                      <a:pt x="681" y="311"/>
                    </a:lnTo>
                    <a:lnTo>
                      <a:pt x="724" y="311"/>
                    </a:lnTo>
                    <a:lnTo>
                      <a:pt x="1041" y="311"/>
                    </a:lnTo>
                    <a:lnTo>
                      <a:pt x="1041" y="321"/>
                    </a:lnTo>
                    <a:lnTo>
                      <a:pt x="1043" y="328"/>
                    </a:lnTo>
                    <a:lnTo>
                      <a:pt x="1061" y="370"/>
                    </a:lnTo>
                    <a:lnTo>
                      <a:pt x="1066" y="375"/>
                    </a:lnTo>
                    <a:lnTo>
                      <a:pt x="1075" y="381"/>
                    </a:lnTo>
                    <a:lnTo>
                      <a:pt x="1083" y="390"/>
                    </a:lnTo>
                    <a:lnTo>
                      <a:pt x="1088" y="403"/>
                    </a:lnTo>
                    <a:lnTo>
                      <a:pt x="1095" y="404"/>
                    </a:lnTo>
                    <a:lnTo>
                      <a:pt x="1106" y="406"/>
                    </a:lnTo>
                    <a:lnTo>
                      <a:pt x="1108" y="509"/>
                    </a:lnTo>
                    <a:lnTo>
                      <a:pt x="1115" y="789"/>
                    </a:lnTo>
                    <a:lnTo>
                      <a:pt x="1117" y="861"/>
                    </a:lnTo>
                  </a:path>
                </a:pathLst>
              </a:custGeom>
              <a:solidFill>
                <a:srgbClr val="E8E8E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1" name="Freeform 90"/>
              <p:cNvSpPr>
                <a:spLocks/>
              </p:cNvSpPr>
              <p:nvPr/>
            </p:nvSpPr>
            <p:spPr bwMode="auto">
              <a:xfrm>
                <a:off x="2895826" y="2675506"/>
                <a:ext cx="230068" cy="419662"/>
              </a:xfrm>
              <a:custGeom>
                <a:avLst/>
                <a:gdLst/>
                <a:ahLst/>
                <a:cxnLst>
                  <a:cxn ang="0">
                    <a:pos x="6" y="148"/>
                  </a:cxn>
                  <a:cxn ang="0">
                    <a:pos x="15" y="128"/>
                  </a:cxn>
                  <a:cxn ang="0">
                    <a:pos x="26" y="112"/>
                  </a:cxn>
                  <a:cxn ang="0">
                    <a:pos x="37" y="92"/>
                  </a:cxn>
                  <a:cxn ang="0">
                    <a:pos x="47" y="73"/>
                  </a:cxn>
                  <a:cxn ang="0">
                    <a:pos x="60" y="57"/>
                  </a:cxn>
                  <a:cxn ang="0">
                    <a:pos x="70" y="33"/>
                  </a:cxn>
                  <a:cxn ang="0">
                    <a:pos x="68" y="1"/>
                  </a:cxn>
                  <a:cxn ang="0">
                    <a:pos x="88" y="8"/>
                  </a:cxn>
                  <a:cxn ang="0">
                    <a:pos x="108" y="0"/>
                  </a:cxn>
                  <a:cxn ang="0">
                    <a:pos x="129" y="8"/>
                  </a:cxn>
                  <a:cxn ang="0">
                    <a:pos x="121" y="28"/>
                  </a:cxn>
                  <a:cxn ang="0">
                    <a:pos x="119" y="46"/>
                  </a:cxn>
                  <a:cxn ang="0">
                    <a:pos x="130" y="58"/>
                  </a:cxn>
                  <a:cxn ang="0">
                    <a:pos x="159" y="83"/>
                  </a:cxn>
                  <a:cxn ang="0">
                    <a:pos x="170" y="97"/>
                  </a:cxn>
                  <a:cxn ang="0">
                    <a:pos x="165" y="115"/>
                  </a:cxn>
                  <a:cxn ang="0">
                    <a:pos x="137" y="118"/>
                  </a:cxn>
                  <a:cxn ang="0">
                    <a:pos x="119" y="106"/>
                  </a:cxn>
                  <a:cxn ang="0">
                    <a:pos x="97" y="118"/>
                  </a:cxn>
                  <a:cxn ang="0">
                    <a:pos x="74" y="140"/>
                  </a:cxn>
                  <a:cxn ang="0">
                    <a:pos x="68" y="155"/>
                  </a:cxn>
                  <a:cxn ang="0">
                    <a:pos x="75" y="170"/>
                  </a:cxn>
                  <a:cxn ang="0">
                    <a:pos x="97" y="183"/>
                  </a:cxn>
                  <a:cxn ang="0">
                    <a:pos x="112" y="203"/>
                  </a:cxn>
                  <a:cxn ang="0">
                    <a:pos x="119" y="223"/>
                  </a:cxn>
                  <a:cxn ang="0">
                    <a:pos x="129" y="238"/>
                  </a:cxn>
                  <a:cxn ang="0">
                    <a:pos x="132" y="263"/>
                  </a:cxn>
                  <a:cxn ang="0">
                    <a:pos x="129" y="291"/>
                  </a:cxn>
                  <a:cxn ang="0">
                    <a:pos x="137" y="310"/>
                  </a:cxn>
                  <a:cxn ang="0">
                    <a:pos x="141" y="326"/>
                  </a:cxn>
                  <a:cxn ang="0">
                    <a:pos x="159" y="326"/>
                  </a:cxn>
                  <a:cxn ang="0">
                    <a:pos x="159" y="305"/>
                  </a:cxn>
                  <a:cxn ang="0">
                    <a:pos x="172" y="288"/>
                  </a:cxn>
                  <a:cxn ang="0">
                    <a:pos x="192" y="310"/>
                  </a:cxn>
                  <a:cxn ang="0">
                    <a:pos x="207" y="330"/>
                  </a:cxn>
                  <a:cxn ang="0">
                    <a:pos x="232" y="340"/>
                  </a:cxn>
                  <a:cxn ang="0">
                    <a:pos x="252" y="375"/>
                  </a:cxn>
                  <a:cxn ang="0">
                    <a:pos x="266" y="400"/>
                  </a:cxn>
                  <a:cxn ang="0">
                    <a:pos x="263" y="426"/>
                  </a:cxn>
                  <a:cxn ang="0">
                    <a:pos x="251" y="440"/>
                  </a:cxn>
                  <a:cxn ang="0">
                    <a:pos x="244" y="465"/>
                  </a:cxn>
                  <a:cxn ang="0">
                    <a:pos x="221" y="455"/>
                  </a:cxn>
                  <a:cxn ang="0">
                    <a:pos x="205" y="442"/>
                  </a:cxn>
                  <a:cxn ang="0">
                    <a:pos x="205" y="417"/>
                  </a:cxn>
                  <a:cxn ang="0">
                    <a:pos x="190" y="393"/>
                  </a:cxn>
                  <a:cxn ang="0">
                    <a:pos x="172" y="385"/>
                  </a:cxn>
                  <a:cxn ang="0">
                    <a:pos x="156" y="398"/>
                  </a:cxn>
                  <a:cxn ang="0">
                    <a:pos x="134" y="398"/>
                  </a:cxn>
                  <a:cxn ang="0">
                    <a:pos x="141" y="378"/>
                  </a:cxn>
                  <a:cxn ang="0">
                    <a:pos x="119" y="366"/>
                  </a:cxn>
                  <a:cxn ang="0">
                    <a:pos x="103" y="345"/>
                  </a:cxn>
                  <a:cxn ang="0">
                    <a:pos x="103" y="317"/>
                  </a:cxn>
                  <a:cxn ang="0">
                    <a:pos x="101" y="297"/>
                  </a:cxn>
                  <a:cxn ang="0">
                    <a:pos x="107" y="263"/>
                  </a:cxn>
                  <a:cxn ang="0">
                    <a:pos x="103" y="238"/>
                  </a:cxn>
                  <a:cxn ang="0">
                    <a:pos x="88" y="228"/>
                  </a:cxn>
                  <a:cxn ang="0">
                    <a:pos x="67" y="228"/>
                  </a:cxn>
                  <a:cxn ang="0">
                    <a:pos x="52" y="223"/>
                  </a:cxn>
                  <a:cxn ang="0">
                    <a:pos x="43" y="208"/>
                  </a:cxn>
                  <a:cxn ang="0">
                    <a:pos x="21" y="193"/>
                  </a:cxn>
                  <a:cxn ang="0">
                    <a:pos x="5" y="178"/>
                  </a:cxn>
                  <a:cxn ang="0">
                    <a:pos x="1" y="160"/>
                  </a:cxn>
                </a:cxnLst>
                <a:rect l="0" t="0" r="r" b="b"/>
                <a:pathLst>
                  <a:path w="267" h="466">
                    <a:moveTo>
                      <a:pt x="3" y="155"/>
                    </a:moveTo>
                    <a:lnTo>
                      <a:pt x="6" y="148"/>
                    </a:lnTo>
                    <a:lnTo>
                      <a:pt x="12" y="135"/>
                    </a:lnTo>
                    <a:lnTo>
                      <a:pt x="15" y="128"/>
                    </a:lnTo>
                    <a:lnTo>
                      <a:pt x="21" y="125"/>
                    </a:lnTo>
                    <a:lnTo>
                      <a:pt x="26" y="112"/>
                    </a:lnTo>
                    <a:lnTo>
                      <a:pt x="30" y="100"/>
                    </a:lnTo>
                    <a:lnTo>
                      <a:pt x="37" y="92"/>
                    </a:lnTo>
                    <a:lnTo>
                      <a:pt x="43" y="83"/>
                    </a:lnTo>
                    <a:lnTo>
                      <a:pt x="47" y="73"/>
                    </a:lnTo>
                    <a:lnTo>
                      <a:pt x="53" y="66"/>
                    </a:lnTo>
                    <a:lnTo>
                      <a:pt x="60" y="57"/>
                    </a:lnTo>
                    <a:lnTo>
                      <a:pt x="67" y="48"/>
                    </a:lnTo>
                    <a:lnTo>
                      <a:pt x="70" y="33"/>
                    </a:lnTo>
                    <a:lnTo>
                      <a:pt x="70" y="13"/>
                    </a:lnTo>
                    <a:lnTo>
                      <a:pt x="68" y="1"/>
                    </a:lnTo>
                    <a:lnTo>
                      <a:pt x="75" y="8"/>
                    </a:lnTo>
                    <a:lnTo>
                      <a:pt x="88" y="8"/>
                    </a:lnTo>
                    <a:lnTo>
                      <a:pt x="101" y="5"/>
                    </a:lnTo>
                    <a:lnTo>
                      <a:pt x="108" y="0"/>
                    </a:lnTo>
                    <a:lnTo>
                      <a:pt x="121" y="1"/>
                    </a:lnTo>
                    <a:lnTo>
                      <a:pt x="129" y="8"/>
                    </a:lnTo>
                    <a:lnTo>
                      <a:pt x="123" y="18"/>
                    </a:lnTo>
                    <a:lnTo>
                      <a:pt x="121" y="28"/>
                    </a:lnTo>
                    <a:lnTo>
                      <a:pt x="123" y="37"/>
                    </a:lnTo>
                    <a:lnTo>
                      <a:pt x="119" y="46"/>
                    </a:lnTo>
                    <a:lnTo>
                      <a:pt x="121" y="57"/>
                    </a:lnTo>
                    <a:lnTo>
                      <a:pt x="130" y="58"/>
                    </a:lnTo>
                    <a:lnTo>
                      <a:pt x="142" y="66"/>
                    </a:lnTo>
                    <a:lnTo>
                      <a:pt x="159" y="83"/>
                    </a:lnTo>
                    <a:lnTo>
                      <a:pt x="167" y="88"/>
                    </a:lnTo>
                    <a:lnTo>
                      <a:pt x="170" y="97"/>
                    </a:lnTo>
                    <a:lnTo>
                      <a:pt x="170" y="106"/>
                    </a:lnTo>
                    <a:lnTo>
                      <a:pt x="165" y="115"/>
                    </a:lnTo>
                    <a:lnTo>
                      <a:pt x="156" y="118"/>
                    </a:lnTo>
                    <a:lnTo>
                      <a:pt x="137" y="118"/>
                    </a:lnTo>
                    <a:lnTo>
                      <a:pt x="129" y="112"/>
                    </a:lnTo>
                    <a:lnTo>
                      <a:pt x="119" y="106"/>
                    </a:lnTo>
                    <a:lnTo>
                      <a:pt x="103" y="106"/>
                    </a:lnTo>
                    <a:lnTo>
                      <a:pt x="97" y="118"/>
                    </a:lnTo>
                    <a:lnTo>
                      <a:pt x="90" y="132"/>
                    </a:lnTo>
                    <a:lnTo>
                      <a:pt x="74" y="140"/>
                    </a:lnTo>
                    <a:lnTo>
                      <a:pt x="74" y="150"/>
                    </a:lnTo>
                    <a:lnTo>
                      <a:pt x="68" y="155"/>
                    </a:lnTo>
                    <a:lnTo>
                      <a:pt x="60" y="173"/>
                    </a:lnTo>
                    <a:lnTo>
                      <a:pt x="75" y="170"/>
                    </a:lnTo>
                    <a:lnTo>
                      <a:pt x="85" y="173"/>
                    </a:lnTo>
                    <a:lnTo>
                      <a:pt x="97" y="183"/>
                    </a:lnTo>
                    <a:lnTo>
                      <a:pt x="103" y="193"/>
                    </a:lnTo>
                    <a:lnTo>
                      <a:pt x="112" y="203"/>
                    </a:lnTo>
                    <a:lnTo>
                      <a:pt x="117" y="210"/>
                    </a:lnTo>
                    <a:lnTo>
                      <a:pt x="119" y="223"/>
                    </a:lnTo>
                    <a:lnTo>
                      <a:pt x="121" y="233"/>
                    </a:lnTo>
                    <a:lnTo>
                      <a:pt x="129" y="238"/>
                    </a:lnTo>
                    <a:lnTo>
                      <a:pt x="129" y="253"/>
                    </a:lnTo>
                    <a:lnTo>
                      <a:pt x="132" y="263"/>
                    </a:lnTo>
                    <a:lnTo>
                      <a:pt x="123" y="285"/>
                    </a:lnTo>
                    <a:lnTo>
                      <a:pt x="129" y="291"/>
                    </a:lnTo>
                    <a:lnTo>
                      <a:pt x="132" y="300"/>
                    </a:lnTo>
                    <a:lnTo>
                      <a:pt x="137" y="310"/>
                    </a:lnTo>
                    <a:lnTo>
                      <a:pt x="141" y="317"/>
                    </a:lnTo>
                    <a:lnTo>
                      <a:pt x="141" y="326"/>
                    </a:lnTo>
                    <a:lnTo>
                      <a:pt x="150" y="326"/>
                    </a:lnTo>
                    <a:lnTo>
                      <a:pt x="159" y="326"/>
                    </a:lnTo>
                    <a:lnTo>
                      <a:pt x="159" y="311"/>
                    </a:lnTo>
                    <a:lnTo>
                      <a:pt x="159" y="305"/>
                    </a:lnTo>
                    <a:lnTo>
                      <a:pt x="159" y="288"/>
                    </a:lnTo>
                    <a:lnTo>
                      <a:pt x="172" y="288"/>
                    </a:lnTo>
                    <a:lnTo>
                      <a:pt x="179" y="295"/>
                    </a:lnTo>
                    <a:lnTo>
                      <a:pt x="192" y="310"/>
                    </a:lnTo>
                    <a:lnTo>
                      <a:pt x="199" y="325"/>
                    </a:lnTo>
                    <a:lnTo>
                      <a:pt x="207" y="330"/>
                    </a:lnTo>
                    <a:lnTo>
                      <a:pt x="212" y="335"/>
                    </a:lnTo>
                    <a:lnTo>
                      <a:pt x="232" y="340"/>
                    </a:lnTo>
                    <a:lnTo>
                      <a:pt x="251" y="346"/>
                    </a:lnTo>
                    <a:lnTo>
                      <a:pt x="252" y="375"/>
                    </a:lnTo>
                    <a:lnTo>
                      <a:pt x="263" y="393"/>
                    </a:lnTo>
                    <a:lnTo>
                      <a:pt x="266" y="400"/>
                    </a:lnTo>
                    <a:lnTo>
                      <a:pt x="266" y="417"/>
                    </a:lnTo>
                    <a:lnTo>
                      <a:pt x="263" y="426"/>
                    </a:lnTo>
                    <a:lnTo>
                      <a:pt x="258" y="433"/>
                    </a:lnTo>
                    <a:lnTo>
                      <a:pt x="251" y="440"/>
                    </a:lnTo>
                    <a:lnTo>
                      <a:pt x="249" y="455"/>
                    </a:lnTo>
                    <a:lnTo>
                      <a:pt x="244" y="465"/>
                    </a:lnTo>
                    <a:lnTo>
                      <a:pt x="236" y="458"/>
                    </a:lnTo>
                    <a:lnTo>
                      <a:pt x="221" y="455"/>
                    </a:lnTo>
                    <a:lnTo>
                      <a:pt x="211" y="455"/>
                    </a:lnTo>
                    <a:lnTo>
                      <a:pt x="205" y="442"/>
                    </a:lnTo>
                    <a:lnTo>
                      <a:pt x="203" y="431"/>
                    </a:lnTo>
                    <a:lnTo>
                      <a:pt x="205" y="417"/>
                    </a:lnTo>
                    <a:lnTo>
                      <a:pt x="197" y="400"/>
                    </a:lnTo>
                    <a:lnTo>
                      <a:pt x="190" y="393"/>
                    </a:lnTo>
                    <a:lnTo>
                      <a:pt x="183" y="385"/>
                    </a:lnTo>
                    <a:lnTo>
                      <a:pt x="172" y="385"/>
                    </a:lnTo>
                    <a:lnTo>
                      <a:pt x="161" y="390"/>
                    </a:lnTo>
                    <a:lnTo>
                      <a:pt x="156" y="398"/>
                    </a:lnTo>
                    <a:lnTo>
                      <a:pt x="141" y="406"/>
                    </a:lnTo>
                    <a:lnTo>
                      <a:pt x="134" y="398"/>
                    </a:lnTo>
                    <a:lnTo>
                      <a:pt x="137" y="386"/>
                    </a:lnTo>
                    <a:lnTo>
                      <a:pt x="141" y="378"/>
                    </a:lnTo>
                    <a:lnTo>
                      <a:pt x="132" y="370"/>
                    </a:lnTo>
                    <a:lnTo>
                      <a:pt x="119" y="366"/>
                    </a:lnTo>
                    <a:lnTo>
                      <a:pt x="112" y="360"/>
                    </a:lnTo>
                    <a:lnTo>
                      <a:pt x="103" y="345"/>
                    </a:lnTo>
                    <a:lnTo>
                      <a:pt x="108" y="331"/>
                    </a:lnTo>
                    <a:lnTo>
                      <a:pt x="103" y="317"/>
                    </a:lnTo>
                    <a:lnTo>
                      <a:pt x="95" y="310"/>
                    </a:lnTo>
                    <a:lnTo>
                      <a:pt x="101" y="297"/>
                    </a:lnTo>
                    <a:lnTo>
                      <a:pt x="107" y="275"/>
                    </a:lnTo>
                    <a:lnTo>
                      <a:pt x="107" y="263"/>
                    </a:lnTo>
                    <a:lnTo>
                      <a:pt x="103" y="251"/>
                    </a:lnTo>
                    <a:lnTo>
                      <a:pt x="103" y="238"/>
                    </a:lnTo>
                    <a:lnTo>
                      <a:pt x="97" y="230"/>
                    </a:lnTo>
                    <a:lnTo>
                      <a:pt x="88" y="228"/>
                    </a:lnTo>
                    <a:lnTo>
                      <a:pt x="77" y="226"/>
                    </a:lnTo>
                    <a:lnTo>
                      <a:pt x="67" y="228"/>
                    </a:lnTo>
                    <a:lnTo>
                      <a:pt x="53" y="233"/>
                    </a:lnTo>
                    <a:lnTo>
                      <a:pt x="52" y="223"/>
                    </a:lnTo>
                    <a:lnTo>
                      <a:pt x="48" y="213"/>
                    </a:lnTo>
                    <a:lnTo>
                      <a:pt x="43" y="208"/>
                    </a:lnTo>
                    <a:lnTo>
                      <a:pt x="37" y="198"/>
                    </a:lnTo>
                    <a:lnTo>
                      <a:pt x="21" y="193"/>
                    </a:lnTo>
                    <a:lnTo>
                      <a:pt x="15" y="188"/>
                    </a:lnTo>
                    <a:lnTo>
                      <a:pt x="5" y="178"/>
                    </a:lnTo>
                    <a:lnTo>
                      <a:pt x="0" y="170"/>
                    </a:lnTo>
                    <a:lnTo>
                      <a:pt x="1" y="160"/>
                    </a:lnTo>
                    <a:lnTo>
                      <a:pt x="3" y="155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2" name="Freeform 91"/>
              <p:cNvSpPr>
                <a:spLocks/>
              </p:cNvSpPr>
              <p:nvPr/>
            </p:nvSpPr>
            <p:spPr bwMode="auto">
              <a:xfrm>
                <a:off x="3025078" y="2793480"/>
                <a:ext cx="100817" cy="178312"/>
              </a:xfrm>
              <a:custGeom>
                <a:avLst/>
                <a:gdLst/>
                <a:ahLst/>
                <a:cxnLst>
                  <a:cxn ang="0">
                    <a:pos x="40" y="78"/>
                  </a:cxn>
                  <a:cxn ang="0">
                    <a:pos x="42" y="87"/>
                  </a:cxn>
                  <a:cxn ang="0">
                    <a:pos x="45" y="97"/>
                  </a:cxn>
                  <a:cxn ang="0">
                    <a:pos x="49" y="105"/>
                  </a:cxn>
                  <a:cxn ang="0">
                    <a:pos x="58" y="117"/>
                  </a:cxn>
                  <a:cxn ang="0">
                    <a:pos x="60" y="128"/>
                  </a:cxn>
                  <a:cxn ang="0">
                    <a:pos x="69" y="132"/>
                  </a:cxn>
                  <a:cxn ang="0">
                    <a:pos x="79" y="140"/>
                  </a:cxn>
                  <a:cxn ang="0">
                    <a:pos x="86" y="147"/>
                  </a:cxn>
                  <a:cxn ang="0">
                    <a:pos x="102" y="167"/>
                  </a:cxn>
                  <a:cxn ang="0">
                    <a:pos x="111" y="182"/>
                  </a:cxn>
                  <a:cxn ang="0">
                    <a:pos x="116" y="187"/>
                  </a:cxn>
                  <a:cxn ang="0">
                    <a:pos x="113" y="197"/>
                  </a:cxn>
                  <a:cxn ang="0">
                    <a:pos x="104" y="194"/>
                  </a:cxn>
                  <a:cxn ang="0">
                    <a:pos x="99" y="187"/>
                  </a:cxn>
                  <a:cxn ang="0">
                    <a:pos x="97" y="180"/>
                  </a:cxn>
                  <a:cxn ang="0">
                    <a:pos x="89" y="170"/>
                  </a:cxn>
                  <a:cxn ang="0">
                    <a:pos x="82" y="160"/>
                  </a:cxn>
                  <a:cxn ang="0">
                    <a:pos x="74" y="154"/>
                  </a:cxn>
                  <a:cxn ang="0">
                    <a:pos x="60" y="148"/>
                  </a:cxn>
                  <a:cxn ang="0">
                    <a:pos x="47" y="130"/>
                  </a:cxn>
                  <a:cxn ang="0">
                    <a:pos x="37" y="132"/>
                  </a:cxn>
                  <a:cxn ang="0">
                    <a:pos x="27" y="132"/>
                  </a:cxn>
                  <a:cxn ang="0">
                    <a:pos x="17" y="128"/>
                  </a:cxn>
                  <a:cxn ang="0">
                    <a:pos x="13" y="115"/>
                  </a:cxn>
                  <a:cxn ang="0">
                    <a:pos x="13" y="102"/>
                  </a:cxn>
                  <a:cxn ang="0">
                    <a:pos x="10" y="95"/>
                  </a:cxn>
                  <a:cxn ang="0">
                    <a:pos x="5" y="85"/>
                  </a:cxn>
                  <a:cxn ang="0">
                    <a:pos x="1" y="77"/>
                  </a:cxn>
                  <a:cxn ang="0">
                    <a:pos x="0" y="62"/>
                  </a:cxn>
                  <a:cxn ang="0">
                    <a:pos x="1" y="50"/>
                  </a:cxn>
                  <a:cxn ang="0">
                    <a:pos x="5" y="38"/>
                  </a:cxn>
                  <a:cxn ang="0">
                    <a:pos x="5" y="28"/>
                  </a:cxn>
                  <a:cxn ang="0">
                    <a:pos x="8" y="18"/>
                  </a:cxn>
                  <a:cxn ang="0">
                    <a:pos x="27" y="12"/>
                  </a:cxn>
                  <a:cxn ang="0">
                    <a:pos x="32" y="18"/>
                  </a:cxn>
                  <a:cxn ang="0">
                    <a:pos x="42" y="18"/>
                  </a:cxn>
                  <a:cxn ang="0">
                    <a:pos x="45" y="8"/>
                  </a:cxn>
                  <a:cxn ang="0">
                    <a:pos x="52" y="0"/>
                  </a:cxn>
                  <a:cxn ang="0">
                    <a:pos x="82" y="15"/>
                  </a:cxn>
                  <a:cxn ang="0">
                    <a:pos x="99" y="32"/>
                  </a:cxn>
                  <a:cxn ang="0">
                    <a:pos x="94" y="45"/>
                  </a:cxn>
                  <a:cxn ang="0">
                    <a:pos x="86" y="41"/>
                  </a:cxn>
                  <a:cxn ang="0">
                    <a:pos x="74" y="36"/>
                  </a:cxn>
                  <a:cxn ang="0">
                    <a:pos x="62" y="32"/>
                  </a:cxn>
                  <a:cxn ang="0">
                    <a:pos x="56" y="38"/>
                  </a:cxn>
                  <a:cxn ang="0">
                    <a:pos x="58" y="50"/>
                  </a:cxn>
                  <a:cxn ang="0">
                    <a:pos x="65" y="56"/>
                  </a:cxn>
                  <a:cxn ang="0">
                    <a:pos x="58" y="65"/>
                  </a:cxn>
                  <a:cxn ang="0">
                    <a:pos x="52" y="70"/>
                  </a:cxn>
                  <a:cxn ang="0">
                    <a:pos x="42" y="73"/>
                  </a:cxn>
                  <a:cxn ang="0">
                    <a:pos x="40" y="78"/>
                  </a:cxn>
                </a:cxnLst>
                <a:rect l="0" t="0" r="r" b="b"/>
                <a:pathLst>
                  <a:path w="117" h="198">
                    <a:moveTo>
                      <a:pt x="40" y="78"/>
                    </a:moveTo>
                    <a:lnTo>
                      <a:pt x="42" y="87"/>
                    </a:lnTo>
                    <a:lnTo>
                      <a:pt x="45" y="97"/>
                    </a:lnTo>
                    <a:lnTo>
                      <a:pt x="49" y="105"/>
                    </a:lnTo>
                    <a:lnTo>
                      <a:pt x="58" y="117"/>
                    </a:lnTo>
                    <a:lnTo>
                      <a:pt x="60" y="128"/>
                    </a:lnTo>
                    <a:lnTo>
                      <a:pt x="69" y="132"/>
                    </a:lnTo>
                    <a:lnTo>
                      <a:pt x="79" y="140"/>
                    </a:lnTo>
                    <a:lnTo>
                      <a:pt x="86" y="147"/>
                    </a:lnTo>
                    <a:lnTo>
                      <a:pt x="102" y="167"/>
                    </a:lnTo>
                    <a:lnTo>
                      <a:pt x="111" y="182"/>
                    </a:lnTo>
                    <a:lnTo>
                      <a:pt x="116" y="187"/>
                    </a:lnTo>
                    <a:lnTo>
                      <a:pt x="113" y="197"/>
                    </a:lnTo>
                    <a:lnTo>
                      <a:pt x="104" y="194"/>
                    </a:lnTo>
                    <a:lnTo>
                      <a:pt x="99" y="187"/>
                    </a:lnTo>
                    <a:lnTo>
                      <a:pt x="97" y="180"/>
                    </a:lnTo>
                    <a:lnTo>
                      <a:pt x="89" y="170"/>
                    </a:lnTo>
                    <a:lnTo>
                      <a:pt x="82" y="160"/>
                    </a:lnTo>
                    <a:lnTo>
                      <a:pt x="74" y="154"/>
                    </a:lnTo>
                    <a:lnTo>
                      <a:pt x="60" y="148"/>
                    </a:lnTo>
                    <a:lnTo>
                      <a:pt x="47" y="130"/>
                    </a:lnTo>
                    <a:lnTo>
                      <a:pt x="37" y="132"/>
                    </a:lnTo>
                    <a:lnTo>
                      <a:pt x="27" y="132"/>
                    </a:lnTo>
                    <a:lnTo>
                      <a:pt x="17" y="128"/>
                    </a:lnTo>
                    <a:lnTo>
                      <a:pt x="13" y="115"/>
                    </a:lnTo>
                    <a:lnTo>
                      <a:pt x="13" y="102"/>
                    </a:lnTo>
                    <a:lnTo>
                      <a:pt x="10" y="95"/>
                    </a:lnTo>
                    <a:lnTo>
                      <a:pt x="5" y="85"/>
                    </a:lnTo>
                    <a:lnTo>
                      <a:pt x="1" y="77"/>
                    </a:lnTo>
                    <a:lnTo>
                      <a:pt x="0" y="62"/>
                    </a:lnTo>
                    <a:lnTo>
                      <a:pt x="1" y="50"/>
                    </a:lnTo>
                    <a:lnTo>
                      <a:pt x="5" y="38"/>
                    </a:lnTo>
                    <a:lnTo>
                      <a:pt x="5" y="28"/>
                    </a:lnTo>
                    <a:lnTo>
                      <a:pt x="8" y="18"/>
                    </a:lnTo>
                    <a:lnTo>
                      <a:pt x="27" y="12"/>
                    </a:lnTo>
                    <a:lnTo>
                      <a:pt x="32" y="18"/>
                    </a:lnTo>
                    <a:lnTo>
                      <a:pt x="42" y="18"/>
                    </a:lnTo>
                    <a:lnTo>
                      <a:pt x="45" y="8"/>
                    </a:lnTo>
                    <a:lnTo>
                      <a:pt x="52" y="0"/>
                    </a:lnTo>
                    <a:lnTo>
                      <a:pt x="82" y="15"/>
                    </a:lnTo>
                    <a:lnTo>
                      <a:pt x="99" y="32"/>
                    </a:lnTo>
                    <a:lnTo>
                      <a:pt x="94" y="45"/>
                    </a:lnTo>
                    <a:lnTo>
                      <a:pt x="86" y="41"/>
                    </a:lnTo>
                    <a:lnTo>
                      <a:pt x="74" y="36"/>
                    </a:lnTo>
                    <a:lnTo>
                      <a:pt x="62" y="32"/>
                    </a:lnTo>
                    <a:lnTo>
                      <a:pt x="56" y="38"/>
                    </a:lnTo>
                    <a:lnTo>
                      <a:pt x="58" y="50"/>
                    </a:lnTo>
                    <a:lnTo>
                      <a:pt x="65" y="56"/>
                    </a:lnTo>
                    <a:lnTo>
                      <a:pt x="58" y="65"/>
                    </a:lnTo>
                    <a:lnTo>
                      <a:pt x="52" y="70"/>
                    </a:lnTo>
                    <a:lnTo>
                      <a:pt x="42" y="73"/>
                    </a:lnTo>
                    <a:lnTo>
                      <a:pt x="40" y="78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3" name="Freeform 92"/>
              <p:cNvSpPr>
                <a:spLocks/>
              </p:cNvSpPr>
              <p:nvPr/>
            </p:nvSpPr>
            <p:spPr bwMode="auto">
              <a:xfrm>
                <a:off x="1838545" y="2899747"/>
                <a:ext cx="1136554" cy="481802"/>
              </a:xfrm>
              <a:custGeom>
                <a:avLst/>
                <a:gdLst/>
                <a:ahLst/>
                <a:cxnLst>
                  <a:cxn ang="0">
                    <a:pos x="307" y="507"/>
                  </a:cxn>
                  <a:cxn ang="0">
                    <a:pos x="157" y="437"/>
                  </a:cxn>
                  <a:cxn ang="0">
                    <a:pos x="150" y="400"/>
                  </a:cxn>
                  <a:cxn ang="0">
                    <a:pos x="126" y="347"/>
                  </a:cxn>
                  <a:cxn ang="0">
                    <a:pos x="130" y="313"/>
                  </a:cxn>
                  <a:cxn ang="0">
                    <a:pos x="113" y="288"/>
                  </a:cxn>
                  <a:cxn ang="0">
                    <a:pos x="93" y="270"/>
                  </a:cxn>
                  <a:cxn ang="0">
                    <a:pos x="39" y="224"/>
                  </a:cxn>
                  <a:cxn ang="0">
                    <a:pos x="21" y="186"/>
                  </a:cxn>
                  <a:cxn ang="0">
                    <a:pos x="245" y="192"/>
                  </a:cxn>
                  <a:cxn ang="0">
                    <a:pos x="951" y="224"/>
                  </a:cxn>
                  <a:cxn ang="0">
                    <a:pos x="1101" y="140"/>
                  </a:cxn>
                  <a:cxn ang="0">
                    <a:pos x="1124" y="59"/>
                  </a:cxn>
                  <a:cxn ang="0">
                    <a:pos x="1159" y="97"/>
                  </a:cxn>
                  <a:cxn ang="0">
                    <a:pos x="1143" y="125"/>
                  </a:cxn>
                  <a:cxn ang="0">
                    <a:pos x="1178" y="110"/>
                  </a:cxn>
                  <a:cxn ang="0">
                    <a:pos x="1184" y="80"/>
                  </a:cxn>
                  <a:cxn ang="0">
                    <a:pos x="1144" y="59"/>
                  </a:cxn>
                  <a:cxn ang="0">
                    <a:pos x="1178" y="6"/>
                  </a:cxn>
                  <a:cxn ang="0">
                    <a:pos x="1233" y="0"/>
                  </a:cxn>
                  <a:cxn ang="0">
                    <a:pos x="1204" y="43"/>
                  </a:cxn>
                  <a:cxn ang="0">
                    <a:pos x="1224" y="72"/>
                  </a:cxn>
                  <a:cxn ang="0">
                    <a:pos x="1248" y="106"/>
                  </a:cxn>
                  <a:cxn ang="0">
                    <a:pos x="1261" y="140"/>
                  </a:cxn>
                  <a:cxn ang="0">
                    <a:pos x="1275" y="166"/>
                  </a:cxn>
                  <a:cxn ang="0">
                    <a:pos x="1290" y="182"/>
                  </a:cxn>
                  <a:cxn ang="0">
                    <a:pos x="1304" y="215"/>
                  </a:cxn>
                  <a:cxn ang="0">
                    <a:pos x="1306" y="226"/>
                  </a:cxn>
                  <a:cxn ang="0">
                    <a:pos x="1273" y="262"/>
                  </a:cxn>
                  <a:cxn ang="0">
                    <a:pos x="1230" y="293"/>
                  </a:cxn>
                  <a:cxn ang="0">
                    <a:pos x="1226" y="333"/>
                  </a:cxn>
                  <a:cxn ang="0">
                    <a:pos x="1206" y="377"/>
                  </a:cxn>
                  <a:cxn ang="0">
                    <a:pos x="1178" y="387"/>
                  </a:cxn>
                  <a:cxn ang="0">
                    <a:pos x="1190" y="353"/>
                  </a:cxn>
                  <a:cxn ang="0">
                    <a:pos x="1201" y="306"/>
                  </a:cxn>
                  <a:cxn ang="0">
                    <a:pos x="1198" y="273"/>
                  </a:cxn>
                  <a:cxn ang="0">
                    <a:pos x="1181" y="267"/>
                  </a:cxn>
                  <a:cxn ang="0">
                    <a:pos x="1166" y="310"/>
                  </a:cxn>
                  <a:cxn ang="0">
                    <a:pos x="1164" y="270"/>
                  </a:cxn>
                  <a:cxn ang="0">
                    <a:pos x="1154" y="299"/>
                  </a:cxn>
                  <a:cxn ang="0">
                    <a:pos x="1161" y="335"/>
                  </a:cxn>
                  <a:cxn ang="0">
                    <a:pos x="1148" y="352"/>
                  </a:cxn>
                  <a:cxn ang="0">
                    <a:pos x="1138" y="382"/>
                  </a:cxn>
                  <a:cxn ang="0">
                    <a:pos x="1123" y="412"/>
                  </a:cxn>
                  <a:cxn ang="0">
                    <a:pos x="1098" y="435"/>
                  </a:cxn>
                  <a:cxn ang="0">
                    <a:pos x="1063" y="464"/>
                  </a:cxn>
                  <a:cxn ang="0">
                    <a:pos x="724" y="534"/>
                  </a:cxn>
                </a:cxnLst>
                <a:rect l="0" t="0" r="r" b="b"/>
                <a:pathLst>
                  <a:path w="1319" h="535">
                    <a:moveTo>
                      <a:pt x="724" y="534"/>
                    </a:moveTo>
                    <a:lnTo>
                      <a:pt x="699" y="529"/>
                    </a:lnTo>
                    <a:lnTo>
                      <a:pt x="307" y="507"/>
                    </a:lnTo>
                    <a:lnTo>
                      <a:pt x="166" y="497"/>
                    </a:lnTo>
                    <a:lnTo>
                      <a:pt x="160" y="446"/>
                    </a:lnTo>
                    <a:lnTo>
                      <a:pt x="157" y="437"/>
                    </a:lnTo>
                    <a:lnTo>
                      <a:pt x="153" y="420"/>
                    </a:lnTo>
                    <a:lnTo>
                      <a:pt x="152" y="409"/>
                    </a:lnTo>
                    <a:lnTo>
                      <a:pt x="150" y="400"/>
                    </a:lnTo>
                    <a:lnTo>
                      <a:pt x="145" y="379"/>
                    </a:lnTo>
                    <a:lnTo>
                      <a:pt x="133" y="353"/>
                    </a:lnTo>
                    <a:lnTo>
                      <a:pt x="126" y="347"/>
                    </a:lnTo>
                    <a:lnTo>
                      <a:pt x="130" y="339"/>
                    </a:lnTo>
                    <a:lnTo>
                      <a:pt x="132" y="330"/>
                    </a:lnTo>
                    <a:lnTo>
                      <a:pt x="130" y="313"/>
                    </a:lnTo>
                    <a:lnTo>
                      <a:pt x="126" y="304"/>
                    </a:lnTo>
                    <a:lnTo>
                      <a:pt x="113" y="302"/>
                    </a:lnTo>
                    <a:lnTo>
                      <a:pt x="113" y="288"/>
                    </a:lnTo>
                    <a:lnTo>
                      <a:pt x="103" y="284"/>
                    </a:lnTo>
                    <a:lnTo>
                      <a:pt x="93" y="284"/>
                    </a:lnTo>
                    <a:lnTo>
                      <a:pt x="93" y="270"/>
                    </a:lnTo>
                    <a:lnTo>
                      <a:pt x="75" y="255"/>
                    </a:lnTo>
                    <a:lnTo>
                      <a:pt x="75" y="240"/>
                    </a:lnTo>
                    <a:lnTo>
                      <a:pt x="39" y="224"/>
                    </a:lnTo>
                    <a:lnTo>
                      <a:pt x="40" y="202"/>
                    </a:lnTo>
                    <a:lnTo>
                      <a:pt x="35" y="188"/>
                    </a:lnTo>
                    <a:lnTo>
                      <a:pt x="21" y="186"/>
                    </a:lnTo>
                    <a:lnTo>
                      <a:pt x="0" y="179"/>
                    </a:lnTo>
                    <a:lnTo>
                      <a:pt x="0" y="177"/>
                    </a:lnTo>
                    <a:lnTo>
                      <a:pt x="245" y="192"/>
                    </a:lnTo>
                    <a:lnTo>
                      <a:pt x="751" y="215"/>
                    </a:lnTo>
                    <a:lnTo>
                      <a:pt x="758" y="215"/>
                    </a:lnTo>
                    <a:lnTo>
                      <a:pt x="951" y="224"/>
                    </a:lnTo>
                    <a:lnTo>
                      <a:pt x="966" y="224"/>
                    </a:lnTo>
                    <a:lnTo>
                      <a:pt x="1098" y="228"/>
                    </a:lnTo>
                    <a:lnTo>
                      <a:pt x="1101" y="140"/>
                    </a:lnTo>
                    <a:lnTo>
                      <a:pt x="1104" y="50"/>
                    </a:lnTo>
                    <a:lnTo>
                      <a:pt x="1118" y="50"/>
                    </a:lnTo>
                    <a:lnTo>
                      <a:pt x="1124" y="59"/>
                    </a:lnTo>
                    <a:lnTo>
                      <a:pt x="1144" y="66"/>
                    </a:lnTo>
                    <a:lnTo>
                      <a:pt x="1158" y="85"/>
                    </a:lnTo>
                    <a:lnTo>
                      <a:pt x="1159" y="97"/>
                    </a:lnTo>
                    <a:lnTo>
                      <a:pt x="1164" y="106"/>
                    </a:lnTo>
                    <a:lnTo>
                      <a:pt x="1154" y="119"/>
                    </a:lnTo>
                    <a:lnTo>
                      <a:pt x="1143" y="125"/>
                    </a:lnTo>
                    <a:lnTo>
                      <a:pt x="1161" y="126"/>
                    </a:lnTo>
                    <a:lnTo>
                      <a:pt x="1171" y="125"/>
                    </a:lnTo>
                    <a:lnTo>
                      <a:pt x="1178" y="110"/>
                    </a:lnTo>
                    <a:lnTo>
                      <a:pt x="1184" y="97"/>
                    </a:lnTo>
                    <a:lnTo>
                      <a:pt x="1183" y="90"/>
                    </a:lnTo>
                    <a:lnTo>
                      <a:pt x="1184" y="80"/>
                    </a:lnTo>
                    <a:lnTo>
                      <a:pt x="1166" y="68"/>
                    </a:lnTo>
                    <a:lnTo>
                      <a:pt x="1159" y="60"/>
                    </a:lnTo>
                    <a:lnTo>
                      <a:pt x="1144" y="59"/>
                    </a:lnTo>
                    <a:lnTo>
                      <a:pt x="1154" y="40"/>
                    </a:lnTo>
                    <a:lnTo>
                      <a:pt x="1148" y="26"/>
                    </a:lnTo>
                    <a:lnTo>
                      <a:pt x="1178" y="6"/>
                    </a:lnTo>
                    <a:lnTo>
                      <a:pt x="1199" y="3"/>
                    </a:lnTo>
                    <a:lnTo>
                      <a:pt x="1216" y="0"/>
                    </a:lnTo>
                    <a:lnTo>
                      <a:pt x="1233" y="0"/>
                    </a:lnTo>
                    <a:lnTo>
                      <a:pt x="1239" y="19"/>
                    </a:lnTo>
                    <a:lnTo>
                      <a:pt x="1216" y="33"/>
                    </a:lnTo>
                    <a:lnTo>
                      <a:pt x="1204" y="43"/>
                    </a:lnTo>
                    <a:lnTo>
                      <a:pt x="1210" y="52"/>
                    </a:lnTo>
                    <a:lnTo>
                      <a:pt x="1216" y="65"/>
                    </a:lnTo>
                    <a:lnTo>
                      <a:pt x="1224" y="72"/>
                    </a:lnTo>
                    <a:lnTo>
                      <a:pt x="1233" y="92"/>
                    </a:lnTo>
                    <a:lnTo>
                      <a:pt x="1244" y="95"/>
                    </a:lnTo>
                    <a:lnTo>
                      <a:pt x="1248" y="106"/>
                    </a:lnTo>
                    <a:lnTo>
                      <a:pt x="1248" y="115"/>
                    </a:lnTo>
                    <a:lnTo>
                      <a:pt x="1253" y="130"/>
                    </a:lnTo>
                    <a:lnTo>
                      <a:pt x="1261" y="140"/>
                    </a:lnTo>
                    <a:lnTo>
                      <a:pt x="1273" y="146"/>
                    </a:lnTo>
                    <a:lnTo>
                      <a:pt x="1279" y="157"/>
                    </a:lnTo>
                    <a:lnTo>
                      <a:pt x="1275" y="166"/>
                    </a:lnTo>
                    <a:lnTo>
                      <a:pt x="1279" y="182"/>
                    </a:lnTo>
                    <a:lnTo>
                      <a:pt x="1279" y="192"/>
                    </a:lnTo>
                    <a:lnTo>
                      <a:pt x="1290" y="182"/>
                    </a:lnTo>
                    <a:lnTo>
                      <a:pt x="1293" y="202"/>
                    </a:lnTo>
                    <a:lnTo>
                      <a:pt x="1295" y="212"/>
                    </a:lnTo>
                    <a:lnTo>
                      <a:pt x="1304" y="215"/>
                    </a:lnTo>
                    <a:lnTo>
                      <a:pt x="1318" y="217"/>
                    </a:lnTo>
                    <a:lnTo>
                      <a:pt x="1315" y="226"/>
                    </a:lnTo>
                    <a:lnTo>
                      <a:pt x="1306" y="226"/>
                    </a:lnTo>
                    <a:lnTo>
                      <a:pt x="1301" y="237"/>
                    </a:lnTo>
                    <a:lnTo>
                      <a:pt x="1268" y="235"/>
                    </a:lnTo>
                    <a:lnTo>
                      <a:pt x="1273" y="262"/>
                    </a:lnTo>
                    <a:lnTo>
                      <a:pt x="1244" y="284"/>
                    </a:lnTo>
                    <a:lnTo>
                      <a:pt x="1231" y="284"/>
                    </a:lnTo>
                    <a:lnTo>
                      <a:pt x="1230" y="293"/>
                    </a:lnTo>
                    <a:lnTo>
                      <a:pt x="1230" y="306"/>
                    </a:lnTo>
                    <a:lnTo>
                      <a:pt x="1224" y="326"/>
                    </a:lnTo>
                    <a:lnTo>
                      <a:pt x="1226" y="333"/>
                    </a:lnTo>
                    <a:lnTo>
                      <a:pt x="1218" y="342"/>
                    </a:lnTo>
                    <a:lnTo>
                      <a:pt x="1208" y="352"/>
                    </a:lnTo>
                    <a:lnTo>
                      <a:pt x="1206" y="377"/>
                    </a:lnTo>
                    <a:lnTo>
                      <a:pt x="1210" y="382"/>
                    </a:lnTo>
                    <a:lnTo>
                      <a:pt x="1190" y="392"/>
                    </a:lnTo>
                    <a:lnTo>
                      <a:pt x="1178" y="387"/>
                    </a:lnTo>
                    <a:lnTo>
                      <a:pt x="1174" y="377"/>
                    </a:lnTo>
                    <a:lnTo>
                      <a:pt x="1186" y="362"/>
                    </a:lnTo>
                    <a:lnTo>
                      <a:pt x="1190" y="353"/>
                    </a:lnTo>
                    <a:lnTo>
                      <a:pt x="1186" y="342"/>
                    </a:lnTo>
                    <a:lnTo>
                      <a:pt x="1193" y="335"/>
                    </a:lnTo>
                    <a:lnTo>
                      <a:pt x="1201" y="306"/>
                    </a:lnTo>
                    <a:lnTo>
                      <a:pt x="1204" y="293"/>
                    </a:lnTo>
                    <a:lnTo>
                      <a:pt x="1199" y="284"/>
                    </a:lnTo>
                    <a:lnTo>
                      <a:pt x="1198" y="273"/>
                    </a:lnTo>
                    <a:lnTo>
                      <a:pt x="1191" y="262"/>
                    </a:lnTo>
                    <a:lnTo>
                      <a:pt x="1184" y="255"/>
                    </a:lnTo>
                    <a:lnTo>
                      <a:pt x="1181" y="267"/>
                    </a:lnTo>
                    <a:lnTo>
                      <a:pt x="1181" y="279"/>
                    </a:lnTo>
                    <a:lnTo>
                      <a:pt x="1183" y="299"/>
                    </a:lnTo>
                    <a:lnTo>
                      <a:pt x="1166" y="310"/>
                    </a:lnTo>
                    <a:lnTo>
                      <a:pt x="1161" y="297"/>
                    </a:lnTo>
                    <a:lnTo>
                      <a:pt x="1166" y="279"/>
                    </a:lnTo>
                    <a:lnTo>
                      <a:pt x="1164" y="270"/>
                    </a:lnTo>
                    <a:lnTo>
                      <a:pt x="1154" y="273"/>
                    </a:lnTo>
                    <a:lnTo>
                      <a:pt x="1150" y="290"/>
                    </a:lnTo>
                    <a:lnTo>
                      <a:pt x="1154" y="299"/>
                    </a:lnTo>
                    <a:lnTo>
                      <a:pt x="1154" y="319"/>
                    </a:lnTo>
                    <a:lnTo>
                      <a:pt x="1161" y="326"/>
                    </a:lnTo>
                    <a:lnTo>
                      <a:pt x="1161" y="335"/>
                    </a:lnTo>
                    <a:lnTo>
                      <a:pt x="1159" y="347"/>
                    </a:lnTo>
                    <a:lnTo>
                      <a:pt x="1154" y="339"/>
                    </a:lnTo>
                    <a:lnTo>
                      <a:pt x="1148" y="352"/>
                    </a:lnTo>
                    <a:lnTo>
                      <a:pt x="1139" y="362"/>
                    </a:lnTo>
                    <a:lnTo>
                      <a:pt x="1134" y="375"/>
                    </a:lnTo>
                    <a:lnTo>
                      <a:pt x="1138" y="382"/>
                    </a:lnTo>
                    <a:lnTo>
                      <a:pt x="1134" y="392"/>
                    </a:lnTo>
                    <a:lnTo>
                      <a:pt x="1126" y="395"/>
                    </a:lnTo>
                    <a:lnTo>
                      <a:pt x="1123" y="412"/>
                    </a:lnTo>
                    <a:lnTo>
                      <a:pt x="1124" y="424"/>
                    </a:lnTo>
                    <a:lnTo>
                      <a:pt x="1110" y="420"/>
                    </a:lnTo>
                    <a:lnTo>
                      <a:pt x="1098" y="435"/>
                    </a:lnTo>
                    <a:lnTo>
                      <a:pt x="1086" y="440"/>
                    </a:lnTo>
                    <a:lnTo>
                      <a:pt x="1076" y="464"/>
                    </a:lnTo>
                    <a:lnTo>
                      <a:pt x="1063" y="464"/>
                    </a:lnTo>
                    <a:lnTo>
                      <a:pt x="744" y="453"/>
                    </a:lnTo>
                    <a:lnTo>
                      <a:pt x="729" y="453"/>
                    </a:lnTo>
                    <a:lnTo>
                      <a:pt x="724" y="534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4" name="Freeform 93"/>
              <p:cNvSpPr>
                <a:spLocks/>
              </p:cNvSpPr>
              <p:nvPr/>
            </p:nvSpPr>
            <p:spPr bwMode="auto">
              <a:xfrm>
                <a:off x="2900996" y="2941172"/>
                <a:ext cx="42222" cy="71145"/>
              </a:xfrm>
              <a:custGeom>
                <a:avLst/>
                <a:gdLst/>
                <a:ahLst/>
                <a:cxnLst>
                  <a:cxn ang="0">
                    <a:pos x="24" y="70"/>
                  </a:cxn>
                  <a:cxn ang="0">
                    <a:pos x="15" y="68"/>
                  </a:cxn>
                  <a:cxn ang="0">
                    <a:pos x="10" y="61"/>
                  </a:cxn>
                  <a:cxn ang="0">
                    <a:pos x="7" y="51"/>
                  </a:cxn>
                  <a:cxn ang="0">
                    <a:pos x="3" y="43"/>
                  </a:cxn>
                  <a:cxn ang="0">
                    <a:pos x="0" y="31"/>
                  </a:cxn>
                  <a:cxn ang="0">
                    <a:pos x="3" y="15"/>
                  </a:cxn>
                  <a:cxn ang="0">
                    <a:pos x="5" y="12"/>
                  </a:cxn>
                  <a:cxn ang="0">
                    <a:pos x="27" y="0"/>
                  </a:cxn>
                  <a:cxn ang="0">
                    <a:pos x="38" y="8"/>
                  </a:cxn>
                  <a:cxn ang="0">
                    <a:pos x="38" y="28"/>
                  </a:cxn>
                  <a:cxn ang="0">
                    <a:pos x="39" y="43"/>
                  </a:cxn>
                  <a:cxn ang="0">
                    <a:pos x="41" y="57"/>
                  </a:cxn>
                  <a:cxn ang="0">
                    <a:pos x="48" y="68"/>
                  </a:cxn>
                  <a:cxn ang="0">
                    <a:pos x="39" y="78"/>
                  </a:cxn>
                  <a:cxn ang="0">
                    <a:pos x="31" y="78"/>
                  </a:cxn>
                  <a:cxn ang="0">
                    <a:pos x="24" y="70"/>
                  </a:cxn>
                </a:cxnLst>
                <a:rect l="0" t="0" r="r" b="b"/>
                <a:pathLst>
                  <a:path w="49" h="79">
                    <a:moveTo>
                      <a:pt x="24" y="70"/>
                    </a:moveTo>
                    <a:lnTo>
                      <a:pt x="15" y="68"/>
                    </a:lnTo>
                    <a:lnTo>
                      <a:pt x="10" y="61"/>
                    </a:lnTo>
                    <a:lnTo>
                      <a:pt x="7" y="51"/>
                    </a:lnTo>
                    <a:lnTo>
                      <a:pt x="3" y="43"/>
                    </a:lnTo>
                    <a:lnTo>
                      <a:pt x="0" y="31"/>
                    </a:lnTo>
                    <a:lnTo>
                      <a:pt x="3" y="15"/>
                    </a:lnTo>
                    <a:lnTo>
                      <a:pt x="5" y="12"/>
                    </a:lnTo>
                    <a:lnTo>
                      <a:pt x="27" y="0"/>
                    </a:lnTo>
                    <a:lnTo>
                      <a:pt x="38" y="8"/>
                    </a:lnTo>
                    <a:lnTo>
                      <a:pt x="38" y="28"/>
                    </a:lnTo>
                    <a:lnTo>
                      <a:pt x="39" y="43"/>
                    </a:lnTo>
                    <a:lnTo>
                      <a:pt x="41" y="57"/>
                    </a:lnTo>
                    <a:lnTo>
                      <a:pt x="48" y="68"/>
                    </a:lnTo>
                    <a:lnTo>
                      <a:pt x="39" y="78"/>
                    </a:lnTo>
                    <a:lnTo>
                      <a:pt x="31" y="78"/>
                    </a:lnTo>
                    <a:lnTo>
                      <a:pt x="24" y="70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5" name="Freeform 94"/>
              <p:cNvSpPr>
                <a:spLocks/>
              </p:cNvSpPr>
              <p:nvPr/>
            </p:nvSpPr>
            <p:spPr bwMode="auto">
              <a:xfrm>
                <a:off x="2801902" y="2901548"/>
                <a:ext cx="26712" cy="27017"/>
              </a:xfrm>
              <a:custGeom>
                <a:avLst/>
                <a:gdLst/>
                <a:ahLst/>
                <a:cxnLst>
                  <a:cxn ang="0">
                    <a:pos x="30" y="11"/>
                  </a:cxn>
                  <a:cxn ang="0">
                    <a:pos x="0" y="29"/>
                  </a:cxn>
                  <a:cxn ang="0">
                    <a:pos x="0" y="0"/>
                  </a:cxn>
                  <a:cxn ang="0">
                    <a:pos x="30" y="11"/>
                  </a:cxn>
                </a:cxnLst>
                <a:rect l="0" t="0" r="r" b="b"/>
                <a:pathLst>
                  <a:path w="31" h="30">
                    <a:moveTo>
                      <a:pt x="30" y="11"/>
                    </a:moveTo>
                    <a:lnTo>
                      <a:pt x="0" y="29"/>
                    </a:lnTo>
                    <a:lnTo>
                      <a:pt x="0" y="0"/>
                    </a:lnTo>
                    <a:lnTo>
                      <a:pt x="30" y="11"/>
                    </a:lnTo>
                  </a:path>
                </a:pathLst>
              </a:custGeom>
              <a:solidFill>
                <a:srgbClr val="FAD62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6" name="Freeform 95"/>
              <p:cNvSpPr>
                <a:spLocks/>
              </p:cNvSpPr>
              <p:nvPr/>
            </p:nvSpPr>
            <p:spPr bwMode="auto">
              <a:xfrm>
                <a:off x="2728660" y="3054643"/>
                <a:ext cx="324853" cy="434972"/>
              </a:xfrm>
              <a:custGeom>
                <a:avLst/>
                <a:gdLst/>
                <a:ahLst/>
                <a:cxnLst>
                  <a:cxn ang="0">
                    <a:pos x="279" y="350"/>
                  </a:cxn>
                  <a:cxn ang="0">
                    <a:pos x="314" y="316"/>
                  </a:cxn>
                  <a:cxn ang="0">
                    <a:pos x="324" y="336"/>
                  </a:cxn>
                  <a:cxn ang="0">
                    <a:pos x="322" y="355"/>
                  </a:cxn>
                  <a:cxn ang="0">
                    <a:pos x="326" y="373"/>
                  </a:cxn>
                  <a:cxn ang="0">
                    <a:pos x="344" y="375"/>
                  </a:cxn>
                  <a:cxn ang="0">
                    <a:pos x="359" y="388"/>
                  </a:cxn>
                  <a:cxn ang="0">
                    <a:pos x="339" y="417"/>
                  </a:cxn>
                  <a:cxn ang="0">
                    <a:pos x="333" y="437"/>
                  </a:cxn>
                  <a:cxn ang="0">
                    <a:pos x="322" y="482"/>
                  </a:cxn>
                  <a:cxn ang="0">
                    <a:pos x="148" y="477"/>
                  </a:cxn>
                  <a:cxn ang="0">
                    <a:pos x="152" y="372"/>
                  </a:cxn>
                  <a:cxn ang="0">
                    <a:pos x="0" y="368"/>
                  </a:cxn>
                  <a:cxn ang="0">
                    <a:pos x="28" y="321"/>
                  </a:cxn>
                  <a:cxn ang="0">
                    <a:pos x="43" y="298"/>
                  </a:cxn>
                  <a:cxn ang="0">
                    <a:pos x="60" y="284"/>
                  </a:cxn>
                  <a:cxn ang="0">
                    <a:pos x="75" y="268"/>
                  </a:cxn>
                  <a:cxn ang="0">
                    <a:pos x="105" y="252"/>
                  </a:cxn>
                  <a:cxn ang="0">
                    <a:pos x="127" y="237"/>
                  </a:cxn>
                  <a:cxn ang="0">
                    <a:pos x="175" y="228"/>
                  </a:cxn>
                  <a:cxn ang="0">
                    <a:pos x="179" y="204"/>
                  </a:cxn>
                  <a:cxn ang="0">
                    <a:pos x="184" y="179"/>
                  </a:cxn>
                  <a:cxn ang="0">
                    <a:pos x="199" y="176"/>
                  </a:cxn>
                  <a:cxn ang="0">
                    <a:pos x="207" y="162"/>
                  </a:cxn>
                  <a:cxn ang="0">
                    <a:pos x="220" y="147"/>
                  </a:cxn>
                  <a:cxn ang="0">
                    <a:pos x="234" y="127"/>
                  </a:cxn>
                  <a:cxn ang="0">
                    <a:pos x="252" y="110"/>
                  </a:cxn>
                  <a:cxn ang="0">
                    <a:pos x="267" y="94"/>
                  </a:cxn>
                  <a:cxn ang="0">
                    <a:pos x="299" y="72"/>
                  </a:cxn>
                  <a:cxn ang="0">
                    <a:pos x="308" y="55"/>
                  </a:cxn>
                  <a:cxn ang="0">
                    <a:pos x="301" y="32"/>
                  </a:cxn>
                  <a:cxn ang="0">
                    <a:pos x="294" y="13"/>
                  </a:cxn>
                  <a:cxn ang="0">
                    <a:pos x="281" y="0"/>
                  </a:cxn>
                  <a:cxn ang="0">
                    <a:pos x="295" y="8"/>
                  </a:cxn>
                  <a:cxn ang="0">
                    <a:pos x="324" y="17"/>
                  </a:cxn>
                  <a:cxn ang="0">
                    <a:pos x="339" y="28"/>
                  </a:cxn>
                  <a:cxn ang="0">
                    <a:pos x="346" y="45"/>
                  </a:cxn>
                  <a:cxn ang="0">
                    <a:pos x="348" y="67"/>
                  </a:cxn>
                  <a:cxn ang="0">
                    <a:pos x="351" y="94"/>
                  </a:cxn>
                  <a:cxn ang="0">
                    <a:pos x="364" y="110"/>
                  </a:cxn>
                  <a:cxn ang="0">
                    <a:pos x="359" y="127"/>
                  </a:cxn>
                  <a:cxn ang="0">
                    <a:pos x="364" y="142"/>
                  </a:cxn>
                  <a:cxn ang="0">
                    <a:pos x="376" y="159"/>
                  </a:cxn>
                  <a:cxn ang="0">
                    <a:pos x="362" y="174"/>
                  </a:cxn>
                  <a:cxn ang="0">
                    <a:pos x="346" y="176"/>
                  </a:cxn>
                  <a:cxn ang="0">
                    <a:pos x="321" y="176"/>
                  </a:cxn>
                  <a:cxn ang="0">
                    <a:pos x="301" y="201"/>
                  </a:cxn>
                  <a:cxn ang="0">
                    <a:pos x="282" y="221"/>
                  </a:cxn>
                  <a:cxn ang="0">
                    <a:pos x="269" y="202"/>
                  </a:cxn>
                  <a:cxn ang="0">
                    <a:pos x="255" y="182"/>
                  </a:cxn>
                  <a:cxn ang="0">
                    <a:pos x="257" y="202"/>
                  </a:cxn>
                  <a:cxn ang="0">
                    <a:pos x="275" y="226"/>
                  </a:cxn>
                  <a:cxn ang="0">
                    <a:pos x="275" y="256"/>
                  </a:cxn>
                  <a:cxn ang="0">
                    <a:pos x="284" y="288"/>
                  </a:cxn>
                  <a:cxn ang="0">
                    <a:pos x="287" y="313"/>
                  </a:cxn>
                  <a:cxn ang="0">
                    <a:pos x="262" y="343"/>
                  </a:cxn>
                  <a:cxn ang="0">
                    <a:pos x="235" y="353"/>
                  </a:cxn>
                  <a:cxn ang="0">
                    <a:pos x="226" y="372"/>
                  </a:cxn>
                  <a:cxn ang="0">
                    <a:pos x="267" y="350"/>
                  </a:cxn>
                </a:cxnLst>
                <a:rect l="0" t="0" r="r" b="b"/>
                <a:pathLst>
                  <a:path w="377" h="483">
                    <a:moveTo>
                      <a:pt x="267" y="350"/>
                    </a:moveTo>
                    <a:lnTo>
                      <a:pt x="279" y="350"/>
                    </a:lnTo>
                    <a:lnTo>
                      <a:pt x="302" y="316"/>
                    </a:lnTo>
                    <a:lnTo>
                      <a:pt x="314" y="316"/>
                    </a:lnTo>
                    <a:lnTo>
                      <a:pt x="314" y="323"/>
                    </a:lnTo>
                    <a:lnTo>
                      <a:pt x="324" y="336"/>
                    </a:lnTo>
                    <a:lnTo>
                      <a:pt x="322" y="348"/>
                    </a:lnTo>
                    <a:lnTo>
                      <a:pt x="322" y="355"/>
                    </a:lnTo>
                    <a:lnTo>
                      <a:pt x="321" y="365"/>
                    </a:lnTo>
                    <a:lnTo>
                      <a:pt x="326" y="373"/>
                    </a:lnTo>
                    <a:lnTo>
                      <a:pt x="335" y="373"/>
                    </a:lnTo>
                    <a:lnTo>
                      <a:pt x="344" y="375"/>
                    </a:lnTo>
                    <a:lnTo>
                      <a:pt x="351" y="383"/>
                    </a:lnTo>
                    <a:lnTo>
                      <a:pt x="359" y="388"/>
                    </a:lnTo>
                    <a:lnTo>
                      <a:pt x="348" y="408"/>
                    </a:lnTo>
                    <a:lnTo>
                      <a:pt x="339" y="417"/>
                    </a:lnTo>
                    <a:lnTo>
                      <a:pt x="335" y="425"/>
                    </a:lnTo>
                    <a:lnTo>
                      <a:pt x="333" y="437"/>
                    </a:lnTo>
                    <a:lnTo>
                      <a:pt x="329" y="460"/>
                    </a:lnTo>
                    <a:lnTo>
                      <a:pt x="322" y="482"/>
                    </a:lnTo>
                    <a:lnTo>
                      <a:pt x="234" y="477"/>
                    </a:lnTo>
                    <a:lnTo>
                      <a:pt x="148" y="477"/>
                    </a:lnTo>
                    <a:lnTo>
                      <a:pt x="150" y="403"/>
                    </a:lnTo>
                    <a:lnTo>
                      <a:pt x="152" y="372"/>
                    </a:lnTo>
                    <a:lnTo>
                      <a:pt x="124" y="372"/>
                    </a:lnTo>
                    <a:lnTo>
                      <a:pt x="0" y="368"/>
                    </a:lnTo>
                    <a:lnTo>
                      <a:pt x="1" y="355"/>
                    </a:lnTo>
                    <a:lnTo>
                      <a:pt x="28" y="321"/>
                    </a:lnTo>
                    <a:lnTo>
                      <a:pt x="37" y="306"/>
                    </a:lnTo>
                    <a:lnTo>
                      <a:pt x="43" y="298"/>
                    </a:lnTo>
                    <a:lnTo>
                      <a:pt x="53" y="294"/>
                    </a:lnTo>
                    <a:lnTo>
                      <a:pt x="60" y="284"/>
                    </a:lnTo>
                    <a:lnTo>
                      <a:pt x="66" y="276"/>
                    </a:lnTo>
                    <a:lnTo>
                      <a:pt x="75" y="268"/>
                    </a:lnTo>
                    <a:lnTo>
                      <a:pt x="90" y="264"/>
                    </a:lnTo>
                    <a:lnTo>
                      <a:pt x="105" y="252"/>
                    </a:lnTo>
                    <a:lnTo>
                      <a:pt x="113" y="243"/>
                    </a:lnTo>
                    <a:lnTo>
                      <a:pt x="127" y="237"/>
                    </a:lnTo>
                    <a:lnTo>
                      <a:pt x="166" y="234"/>
                    </a:lnTo>
                    <a:lnTo>
                      <a:pt x="175" y="228"/>
                    </a:lnTo>
                    <a:lnTo>
                      <a:pt x="182" y="217"/>
                    </a:lnTo>
                    <a:lnTo>
                      <a:pt x="179" y="204"/>
                    </a:lnTo>
                    <a:lnTo>
                      <a:pt x="180" y="190"/>
                    </a:lnTo>
                    <a:lnTo>
                      <a:pt x="184" y="179"/>
                    </a:lnTo>
                    <a:lnTo>
                      <a:pt x="190" y="174"/>
                    </a:lnTo>
                    <a:lnTo>
                      <a:pt x="199" y="176"/>
                    </a:lnTo>
                    <a:lnTo>
                      <a:pt x="206" y="169"/>
                    </a:lnTo>
                    <a:lnTo>
                      <a:pt x="207" y="162"/>
                    </a:lnTo>
                    <a:lnTo>
                      <a:pt x="212" y="150"/>
                    </a:lnTo>
                    <a:lnTo>
                      <a:pt x="220" y="147"/>
                    </a:lnTo>
                    <a:lnTo>
                      <a:pt x="230" y="139"/>
                    </a:lnTo>
                    <a:lnTo>
                      <a:pt x="234" y="127"/>
                    </a:lnTo>
                    <a:lnTo>
                      <a:pt x="241" y="115"/>
                    </a:lnTo>
                    <a:lnTo>
                      <a:pt x="252" y="110"/>
                    </a:lnTo>
                    <a:lnTo>
                      <a:pt x="257" y="100"/>
                    </a:lnTo>
                    <a:lnTo>
                      <a:pt x="267" y="94"/>
                    </a:lnTo>
                    <a:lnTo>
                      <a:pt x="282" y="75"/>
                    </a:lnTo>
                    <a:lnTo>
                      <a:pt x="299" y="72"/>
                    </a:lnTo>
                    <a:lnTo>
                      <a:pt x="308" y="70"/>
                    </a:lnTo>
                    <a:lnTo>
                      <a:pt x="308" y="55"/>
                    </a:lnTo>
                    <a:lnTo>
                      <a:pt x="306" y="45"/>
                    </a:lnTo>
                    <a:lnTo>
                      <a:pt x="301" y="32"/>
                    </a:lnTo>
                    <a:lnTo>
                      <a:pt x="299" y="21"/>
                    </a:lnTo>
                    <a:lnTo>
                      <a:pt x="294" y="13"/>
                    </a:lnTo>
                    <a:lnTo>
                      <a:pt x="281" y="12"/>
                    </a:lnTo>
                    <a:lnTo>
                      <a:pt x="281" y="0"/>
                    </a:lnTo>
                    <a:lnTo>
                      <a:pt x="289" y="0"/>
                    </a:lnTo>
                    <a:lnTo>
                      <a:pt x="295" y="8"/>
                    </a:lnTo>
                    <a:lnTo>
                      <a:pt x="301" y="13"/>
                    </a:lnTo>
                    <a:lnTo>
                      <a:pt x="324" y="17"/>
                    </a:lnTo>
                    <a:lnTo>
                      <a:pt x="329" y="23"/>
                    </a:lnTo>
                    <a:lnTo>
                      <a:pt x="339" y="28"/>
                    </a:lnTo>
                    <a:lnTo>
                      <a:pt x="341" y="35"/>
                    </a:lnTo>
                    <a:lnTo>
                      <a:pt x="346" y="45"/>
                    </a:lnTo>
                    <a:lnTo>
                      <a:pt x="348" y="57"/>
                    </a:lnTo>
                    <a:lnTo>
                      <a:pt x="348" y="67"/>
                    </a:lnTo>
                    <a:lnTo>
                      <a:pt x="351" y="82"/>
                    </a:lnTo>
                    <a:lnTo>
                      <a:pt x="351" y="94"/>
                    </a:lnTo>
                    <a:lnTo>
                      <a:pt x="353" y="100"/>
                    </a:lnTo>
                    <a:lnTo>
                      <a:pt x="364" y="110"/>
                    </a:lnTo>
                    <a:lnTo>
                      <a:pt x="364" y="121"/>
                    </a:lnTo>
                    <a:lnTo>
                      <a:pt x="359" y="127"/>
                    </a:lnTo>
                    <a:lnTo>
                      <a:pt x="359" y="135"/>
                    </a:lnTo>
                    <a:lnTo>
                      <a:pt x="364" y="142"/>
                    </a:lnTo>
                    <a:lnTo>
                      <a:pt x="366" y="150"/>
                    </a:lnTo>
                    <a:lnTo>
                      <a:pt x="376" y="159"/>
                    </a:lnTo>
                    <a:lnTo>
                      <a:pt x="371" y="172"/>
                    </a:lnTo>
                    <a:lnTo>
                      <a:pt x="362" y="174"/>
                    </a:lnTo>
                    <a:lnTo>
                      <a:pt x="353" y="174"/>
                    </a:lnTo>
                    <a:lnTo>
                      <a:pt x="346" y="176"/>
                    </a:lnTo>
                    <a:lnTo>
                      <a:pt x="329" y="172"/>
                    </a:lnTo>
                    <a:lnTo>
                      <a:pt x="321" y="176"/>
                    </a:lnTo>
                    <a:lnTo>
                      <a:pt x="321" y="189"/>
                    </a:lnTo>
                    <a:lnTo>
                      <a:pt x="301" y="201"/>
                    </a:lnTo>
                    <a:lnTo>
                      <a:pt x="295" y="216"/>
                    </a:lnTo>
                    <a:lnTo>
                      <a:pt x="282" y="221"/>
                    </a:lnTo>
                    <a:lnTo>
                      <a:pt x="281" y="204"/>
                    </a:lnTo>
                    <a:lnTo>
                      <a:pt x="269" y="202"/>
                    </a:lnTo>
                    <a:lnTo>
                      <a:pt x="262" y="197"/>
                    </a:lnTo>
                    <a:lnTo>
                      <a:pt x="255" y="182"/>
                    </a:lnTo>
                    <a:lnTo>
                      <a:pt x="249" y="189"/>
                    </a:lnTo>
                    <a:lnTo>
                      <a:pt x="257" y="202"/>
                    </a:lnTo>
                    <a:lnTo>
                      <a:pt x="266" y="212"/>
                    </a:lnTo>
                    <a:lnTo>
                      <a:pt x="275" y="226"/>
                    </a:lnTo>
                    <a:lnTo>
                      <a:pt x="275" y="246"/>
                    </a:lnTo>
                    <a:lnTo>
                      <a:pt x="275" y="256"/>
                    </a:lnTo>
                    <a:lnTo>
                      <a:pt x="289" y="276"/>
                    </a:lnTo>
                    <a:lnTo>
                      <a:pt x="284" y="288"/>
                    </a:lnTo>
                    <a:lnTo>
                      <a:pt x="284" y="304"/>
                    </a:lnTo>
                    <a:lnTo>
                      <a:pt x="287" y="313"/>
                    </a:lnTo>
                    <a:lnTo>
                      <a:pt x="281" y="323"/>
                    </a:lnTo>
                    <a:lnTo>
                      <a:pt x="262" y="343"/>
                    </a:lnTo>
                    <a:lnTo>
                      <a:pt x="249" y="343"/>
                    </a:lnTo>
                    <a:lnTo>
                      <a:pt x="235" y="353"/>
                    </a:lnTo>
                    <a:lnTo>
                      <a:pt x="226" y="363"/>
                    </a:lnTo>
                    <a:lnTo>
                      <a:pt x="226" y="372"/>
                    </a:lnTo>
                    <a:lnTo>
                      <a:pt x="246" y="359"/>
                    </a:lnTo>
                    <a:lnTo>
                      <a:pt x="267" y="350"/>
                    </a:lnTo>
                  </a:path>
                </a:pathLst>
              </a:custGeom>
              <a:solidFill>
                <a:srgbClr val="E8E8E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7" name="Freeform 96"/>
              <p:cNvSpPr>
                <a:spLocks/>
              </p:cNvSpPr>
              <p:nvPr/>
            </p:nvSpPr>
            <p:spPr bwMode="auto">
              <a:xfrm>
                <a:off x="2986302" y="3230253"/>
                <a:ext cx="56009" cy="115272"/>
              </a:xfrm>
              <a:custGeom>
                <a:avLst/>
                <a:gdLst/>
                <a:ahLst/>
                <a:cxnLst>
                  <a:cxn ang="0">
                    <a:pos x="35" y="86"/>
                  </a:cxn>
                  <a:cxn ang="0">
                    <a:pos x="50" y="90"/>
                  </a:cxn>
                  <a:cxn ang="0">
                    <a:pos x="54" y="100"/>
                  </a:cxn>
                  <a:cxn ang="0">
                    <a:pos x="48" y="110"/>
                  </a:cxn>
                  <a:cxn ang="0">
                    <a:pos x="64" y="119"/>
                  </a:cxn>
                  <a:cxn ang="0">
                    <a:pos x="54" y="124"/>
                  </a:cxn>
                  <a:cxn ang="0">
                    <a:pos x="39" y="127"/>
                  </a:cxn>
                  <a:cxn ang="0">
                    <a:pos x="35" y="119"/>
                  </a:cxn>
                  <a:cxn ang="0">
                    <a:pos x="25" y="108"/>
                  </a:cxn>
                  <a:cxn ang="0">
                    <a:pos x="14" y="110"/>
                  </a:cxn>
                  <a:cxn ang="0">
                    <a:pos x="3" y="99"/>
                  </a:cxn>
                  <a:cxn ang="0">
                    <a:pos x="7" y="77"/>
                  </a:cxn>
                  <a:cxn ang="0">
                    <a:pos x="1" y="62"/>
                  </a:cxn>
                  <a:cxn ang="0">
                    <a:pos x="0" y="46"/>
                  </a:cxn>
                  <a:cxn ang="0">
                    <a:pos x="12" y="37"/>
                  </a:cxn>
                  <a:cxn ang="0">
                    <a:pos x="14" y="23"/>
                  </a:cxn>
                  <a:cxn ang="0">
                    <a:pos x="16" y="0"/>
                  </a:cxn>
                  <a:cxn ang="0">
                    <a:pos x="27" y="0"/>
                  </a:cxn>
                  <a:cxn ang="0">
                    <a:pos x="35" y="12"/>
                  </a:cxn>
                  <a:cxn ang="0">
                    <a:pos x="46" y="8"/>
                  </a:cxn>
                  <a:cxn ang="0">
                    <a:pos x="50" y="23"/>
                  </a:cxn>
                  <a:cxn ang="0">
                    <a:pos x="50" y="37"/>
                  </a:cxn>
                  <a:cxn ang="0">
                    <a:pos x="50" y="46"/>
                  </a:cxn>
                  <a:cxn ang="0">
                    <a:pos x="46" y="62"/>
                  </a:cxn>
                  <a:cxn ang="0">
                    <a:pos x="54" y="70"/>
                  </a:cxn>
                  <a:cxn ang="0">
                    <a:pos x="55" y="80"/>
                  </a:cxn>
                  <a:cxn ang="0">
                    <a:pos x="35" y="86"/>
                  </a:cxn>
                </a:cxnLst>
                <a:rect l="0" t="0" r="r" b="b"/>
                <a:pathLst>
                  <a:path w="65" h="128">
                    <a:moveTo>
                      <a:pt x="35" y="86"/>
                    </a:moveTo>
                    <a:lnTo>
                      <a:pt x="50" y="90"/>
                    </a:lnTo>
                    <a:lnTo>
                      <a:pt x="54" y="100"/>
                    </a:lnTo>
                    <a:lnTo>
                      <a:pt x="48" y="110"/>
                    </a:lnTo>
                    <a:lnTo>
                      <a:pt x="64" y="119"/>
                    </a:lnTo>
                    <a:lnTo>
                      <a:pt x="54" y="124"/>
                    </a:lnTo>
                    <a:lnTo>
                      <a:pt x="39" y="127"/>
                    </a:lnTo>
                    <a:lnTo>
                      <a:pt x="35" y="119"/>
                    </a:lnTo>
                    <a:lnTo>
                      <a:pt x="25" y="108"/>
                    </a:lnTo>
                    <a:lnTo>
                      <a:pt x="14" y="110"/>
                    </a:lnTo>
                    <a:lnTo>
                      <a:pt x="3" y="99"/>
                    </a:lnTo>
                    <a:lnTo>
                      <a:pt x="7" y="77"/>
                    </a:lnTo>
                    <a:lnTo>
                      <a:pt x="1" y="62"/>
                    </a:lnTo>
                    <a:lnTo>
                      <a:pt x="0" y="46"/>
                    </a:lnTo>
                    <a:lnTo>
                      <a:pt x="12" y="37"/>
                    </a:lnTo>
                    <a:lnTo>
                      <a:pt x="14" y="23"/>
                    </a:lnTo>
                    <a:lnTo>
                      <a:pt x="16" y="0"/>
                    </a:lnTo>
                    <a:lnTo>
                      <a:pt x="27" y="0"/>
                    </a:lnTo>
                    <a:lnTo>
                      <a:pt x="35" y="12"/>
                    </a:lnTo>
                    <a:lnTo>
                      <a:pt x="46" y="8"/>
                    </a:lnTo>
                    <a:lnTo>
                      <a:pt x="50" y="23"/>
                    </a:lnTo>
                    <a:lnTo>
                      <a:pt x="50" y="37"/>
                    </a:lnTo>
                    <a:lnTo>
                      <a:pt x="50" y="46"/>
                    </a:lnTo>
                    <a:lnTo>
                      <a:pt x="46" y="62"/>
                    </a:lnTo>
                    <a:lnTo>
                      <a:pt x="54" y="70"/>
                    </a:lnTo>
                    <a:lnTo>
                      <a:pt x="55" y="80"/>
                    </a:lnTo>
                    <a:lnTo>
                      <a:pt x="35" y="86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8" name="Freeform 97"/>
              <p:cNvSpPr>
                <a:spLocks/>
              </p:cNvSpPr>
              <p:nvPr/>
            </p:nvSpPr>
            <p:spPr bwMode="auto">
              <a:xfrm>
                <a:off x="3033694" y="3373443"/>
                <a:ext cx="25850" cy="28818"/>
              </a:xfrm>
              <a:custGeom>
                <a:avLst/>
                <a:gdLst/>
                <a:ahLst/>
                <a:cxnLst>
                  <a:cxn ang="0">
                    <a:pos x="16" y="31"/>
                  </a:cxn>
                  <a:cxn ang="0">
                    <a:pos x="0" y="8"/>
                  </a:cxn>
                  <a:cxn ang="0">
                    <a:pos x="22" y="0"/>
                  </a:cxn>
                  <a:cxn ang="0">
                    <a:pos x="29" y="21"/>
                  </a:cxn>
                  <a:cxn ang="0">
                    <a:pos x="16" y="31"/>
                  </a:cxn>
                </a:cxnLst>
                <a:rect l="0" t="0" r="r" b="b"/>
                <a:pathLst>
                  <a:path w="30" h="32">
                    <a:moveTo>
                      <a:pt x="16" y="31"/>
                    </a:moveTo>
                    <a:lnTo>
                      <a:pt x="0" y="8"/>
                    </a:lnTo>
                    <a:lnTo>
                      <a:pt x="22" y="0"/>
                    </a:lnTo>
                    <a:lnTo>
                      <a:pt x="29" y="21"/>
                    </a:lnTo>
                    <a:lnTo>
                      <a:pt x="16" y="31"/>
                    </a:lnTo>
                  </a:path>
                </a:pathLst>
              </a:custGeom>
              <a:solidFill>
                <a:srgbClr val="FAD62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9" name="Freeform 98"/>
              <p:cNvSpPr>
                <a:spLocks/>
              </p:cNvSpPr>
              <p:nvPr/>
            </p:nvSpPr>
            <p:spPr bwMode="auto">
              <a:xfrm>
                <a:off x="2087570" y="3957008"/>
                <a:ext cx="426531" cy="451182"/>
              </a:xfrm>
              <a:custGeom>
                <a:avLst/>
                <a:gdLst/>
                <a:ahLst/>
                <a:cxnLst>
                  <a:cxn ang="0">
                    <a:pos x="83" y="483"/>
                  </a:cxn>
                  <a:cxn ang="0">
                    <a:pos x="83" y="460"/>
                  </a:cxn>
                  <a:cxn ang="0">
                    <a:pos x="73" y="445"/>
                  </a:cxn>
                  <a:cxn ang="0">
                    <a:pos x="57" y="433"/>
                  </a:cxn>
                  <a:cxn ang="0">
                    <a:pos x="33" y="435"/>
                  </a:cxn>
                  <a:cxn ang="0">
                    <a:pos x="28" y="457"/>
                  </a:cxn>
                  <a:cxn ang="0">
                    <a:pos x="21" y="466"/>
                  </a:cxn>
                  <a:cxn ang="0">
                    <a:pos x="0" y="461"/>
                  </a:cxn>
                  <a:cxn ang="0">
                    <a:pos x="3" y="440"/>
                  </a:cxn>
                  <a:cxn ang="0">
                    <a:pos x="12" y="420"/>
                  </a:cxn>
                  <a:cxn ang="0">
                    <a:pos x="23" y="263"/>
                  </a:cxn>
                  <a:cxn ang="0">
                    <a:pos x="23" y="137"/>
                  </a:cxn>
                  <a:cxn ang="0">
                    <a:pos x="37" y="141"/>
                  </a:cxn>
                  <a:cxn ang="0">
                    <a:pos x="37" y="148"/>
                  </a:cxn>
                  <a:cxn ang="0">
                    <a:pos x="37" y="168"/>
                  </a:cxn>
                  <a:cxn ang="0">
                    <a:pos x="50" y="188"/>
                  </a:cxn>
                  <a:cxn ang="0">
                    <a:pos x="46" y="237"/>
                  </a:cxn>
                  <a:cxn ang="0">
                    <a:pos x="43" y="260"/>
                  </a:cxn>
                  <a:cxn ang="0">
                    <a:pos x="43" y="280"/>
                  </a:cxn>
                  <a:cxn ang="0">
                    <a:pos x="46" y="326"/>
                  </a:cxn>
                  <a:cxn ang="0">
                    <a:pos x="46" y="355"/>
                  </a:cxn>
                  <a:cxn ang="0">
                    <a:pos x="50" y="372"/>
                  </a:cxn>
                  <a:cxn ang="0">
                    <a:pos x="70" y="372"/>
                  </a:cxn>
                  <a:cxn ang="0">
                    <a:pos x="90" y="355"/>
                  </a:cxn>
                  <a:cxn ang="0">
                    <a:pos x="106" y="341"/>
                  </a:cxn>
                  <a:cxn ang="0">
                    <a:pos x="99" y="306"/>
                  </a:cxn>
                  <a:cxn ang="0">
                    <a:pos x="111" y="317"/>
                  </a:cxn>
                  <a:cxn ang="0">
                    <a:pos x="124" y="323"/>
                  </a:cxn>
                  <a:cxn ang="0">
                    <a:pos x="119" y="300"/>
                  </a:cxn>
                  <a:cxn ang="0">
                    <a:pos x="99" y="277"/>
                  </a:cxn>
                  <a:cxn ang="0">
                    <a:pos x="115" y="263"/>
                  </a:cxn>
                  <a:cxn ang="0">
                    <a:pos x="131" y="237"/>
                  </a:cxn>
                  <a:cxn ang="0">
                    <a:pos x="128" y="217"/>
                  </a:cxn>
                  <a:cxn ang="0">
                    <a:pos x="119" y="205"/>
                  </a:cxn>
                  <a:cxn ang="0">
                    <a:pos x="108" y="180"/>
                  </a:cxn>
                  <a:cxn ang="0">
                    <a:pos x="93" y="163"/>
                  </a:cxn>
                  <a:cxn ang="0">
                    <a:pos x="97" y="143"/>
                  </a:cxn>
                  <a:cxn ang="0">
                    <a:pos x="119" y="132"/>
                  </a:cxn>
                  <a:cxn ang="0">
                    <a:pos x="123" y="113"/>
                  </a:cxn>
                  <a:cxn ang="0">
                    <a:pos x="146" y="97"/>
                  </a:cxn>
                  <a:cxn ang="0">
                    <a:pos x="164" y="70"/>
                  </a:cxn>
                  <a:cxn ang="0">
                    <a:pos x="153" y="53"/>
                  </a:cxn>
                  <a:cxn ang="0">
                    <a:pos x="128" y="61"/>
                  </a:cxn>
                  <a:cxn ang="0">
                    <a:pos x="108" y="61"/>
                  </a:cxn>
                  <a:cxn ang="0">
                    <a:pos x="85" y="61"/>
                  </a:cxn>
                  <a:cxn ang="0">
                    <a:pos x="93" y="80"/>
                  </a:cxn>
                  <a:cxn ang="0">
                    <a:pos x="70" y="83"/>
                  </a:cxn>
                  <a:cxn ang="0">
                    <a:pos x="35" y="61"/>
                  </a:cxn>
                  <a:cxn ang="0">
                    <a:pos x="8" y="48"/>
                  </a:cxn>
                  <a:cxn ang="0">
                    <a:pos x="8" y="0"/>
                  </a:cxn>
                  <a:cxn ang="0">
                    <a:pos x="389" y="12"/>
                  </a:cxn>
                  <a:cxn ang="0">
                    <a:pos x="494" y="88"/>
                  </a:cxn>
                  <a:cxn ang="0">
                    <a:pos x="491" y="263"/>
                  </a:cxn>
                  <a:cxn ang="0">
                    <a:pos x="354" y="377"/>
                  </a:cxn>
                  <a:cxn ang="0">
                    <a:pos x="239" y="460"/>
                  </a:cxn>
                  <a:cxn ang="0">
                    <a:pos x="221" y="466"/>
                  </a:cxn>
                  <a:cxn ang="0">
                    <a:pos x="201" y="468"/>
                  </a:cxn>
                  <a:cxn ang="0">
                    <a:pos x="186" y="466"/>
                  </a:cxn>
                  <a:cxn ang="0">
                    <a:pos x="171" y="475"/>
                  </a:cxn>
                  <a:cxn ang="0">
                    <a:pos x="153" y="485"/>
                  </a:cxn>
                  <a:cxn ang="0">
                    <a:pos x="141" y="497"/>
                  </a:cxn>
                  <a:cxn ang="0">
                    <a:pos x="115" y="497"/>
                  </a:cxn>
                  <a:cxn ang="0">
                    <a:pos x="90" y="485"/>
                  </a:cxn>
                </a:cxnLst>
                <a:rect l="0" t="0" r="r" b="b"/>
                <a:pathLst>
                  <a:path w="495" h="501">
                    <a:moveTo>
                      <a:pt x="90" y="485"/>
                    </a:moveTo>
                    <a:lnTo>
                      <a:pt x="83" y="483"/>
                    </a:lnTo>
                    <a:lnTo>
                      <a:pt x="73" y="475"/>
                    </a:lnTo>
                    <a:lnTo>
                      <a:pt x="83" y="460"/>
                    </a:lnTo>
                    <a:lnTo>
                      <a:pt x="77" y="453"/>
                    </a:lnTo>
                    <a:lnTo>
                      <a:pt x="73" y="445"/>
                    </a:lnTo>
                    <a:lnTo>
                      <a:pt x="66" y="435"/>
                    </a:lnTo>
                    <a:lnTo>
                      <a:pt x="57" y="433"/>
                    </a:lnTo>
                    <a:lnTo>
                      <a:pt x="43" y="430"/>
                    </a:lnTo>
                    <a:lnTo>
                      <a:pt x="33" y="435"/>
                    </a:lnTo>
                    <a:lnTo>
                      <a:pt x="33" y="445"/>
                    </a:lnTo>
                    <a:lnTo>
                      <a:pt x="28" y="457"/>
                    </a:lnTo>
                    <a:lnTo>
                      <a:pt x="32" y="468"/>
                    </a:lnTo>
                    <a:lnTo>
                      <a:pt x="21" y="466"/>
                    </a:lnTo>
                    <a:lnTo>
                      <a:pt x="0" y="472"/>
                    </a:lnTo>
                    <a:lnTo>
                      <a:pt x="0" y="461"/>
                    </a:lnTo>
                    <a:lnTo>
                      <a:pt x="1" y="452"/>
                    </a:lnTo>
                    <a:lnTo>
                      <a:pt x="3" y="440"/>
                    </a:lnTo>
                    <a:lnTo>
                      <a:pt x="8" y="430"/>
                    </a:lnTo>
                    <a:lnTo>
                      <a:pt x="12" y="420"/>
                    </a:lnTo>
                    <a:lnTo>
                      <a:pt x="17" y="375"/>
                    </a:lnTo>
                    <a:lnTo>
                      <a:pt x="23" y="263"/>
                    </a:lnTo>
                    <a:lnTo>
                      <a:pt x="21" y="148"/>
                    </a:lnTo>
                    <a:lnTo>
                      <a:pt x="23" y="137"/>
                    </a:lnTo>
                    <a:lnTo>
                      <a:pt x="30" y="132"/>
                    </a:lnTo>
                    <a:lnTo>
                      <a:pt x="37" y="141"/>
                    </a:lnTo>
                    <a:lnTo>
                      <a:pt x="45" y="143"/>
                    </a:lnTo>
                    <a:lnTo>
                      <a:pt x="37" y="148"/>
                    </a:lnTo>
                    <a:lnTo>
                      <a:pt x="33" y="157"/>
                    </a:lnTo>
                    <a:lnTo>
                      <a:pt x="37" y="168"/>
                    </a:lnTo>
                    <a:lnTo>
                      <a:pt x="45" y="180"/>
                    </a:lnTo>
                    <a:lnTo>
                      <a:pt x="50" y="188"/>
                    </a:lnTo>
                    <a:lnTo>
                      <a:pt x="50" y="205"/>
                    </a:lnTo>
                    <a:lnTo>
                      <a:pt x="46" y="237"/>
                    </a:lnTo>
                    <a:lnTo>
                      <a:pt x="46" y="245"/>
                    </a:lnTo>
                    <a:lnTo>
                      <a:pt x="43" y="260"/>
                    </a:lnTo>
                    <a:lnTo>
                      <a:pt x="38" y="268"/>
                    </a:lnTo>
                    <a:lnTo>
                      <a:pt x="43" y="280"/>
                    </a:lnTo>
                    <a:lnTo>
                      <a:pt x="43" y="293"/>
                    </a:lnTo>
                    <a:lnTo>
                      <a:pt x="46" y="326"/>
                    </a:lnTo>
                    <a:lnTo>
                      <a:pt x="45" y="343"/>
                    </a:lnTo>
                    <a:lnTo>
                      <a:pt x="46" y="355"/>
                    </a:lnTo>
                    <a:lnTo>
                      <a:pt x="45" y="365"/>
                    </a:lnTo>
                    <a:lnTo>
                      <a:pt x="50" y="372"/>
                    </a:lnTo>
                    <a:lnTo>
                      <a:pt x="57" y="377"/>
                    </a:lnTo>
                    <a:lnTo>
                      <a:pt x="70" y="372"/>
                    </a:lnTo>
                    <a:lnTo>
                      <a:pt x="85" y="375"/>
                    </a:lnTo>
                    <a:lnTo>
                      <a:pt x="90" y="355"/>
                    </a:lnTo>
                    <a:lnTo>
                      <a:pt x="97" y="346"/>
                    </a:lnTo>
                    <a:lnTo>
                      <a:pt x="106" y="341"/>
                    </a:lnTo>
                    <a:lnTo>
                      <a:pt x="111" y="335"/>
                    </a:lnTo>
                    <a:lnTo>
                      <a:pt x="99" y="306"/>
                    </a:lnTo>
                    <a:lnTo>
                      <a:pt x="113" y="308"/>
                    </a:lnTo>
                    <a:lnTo>
                      <a:pt x="111" y="317"/>
                    </a:lnTo>
                    <a:lnTo>
                      <a:pt x="115" y="326"/>
                    </a:lnTo>
                    <a:lnTo>
                      <a:pt x="124" y="323"/>
                    </a:lnTo>
                    <a:lnTo>
                      <a:pt x="123" y="308"/>
                    </a:lnTo>
                    <a:lnTo>
                      <a:pt x="119" y="300"/>
                    </a:lnTo>
                    <a:lnTo>
                      <a:pt x="97" y="288"/>
                    </a:lnTo>
                    <a:lnTo>
                      <a:pt x="99" y="277"/>
                    </a:lnTo>
                    <a:lnTo>
                      <a:pt x="108" y="273"/>
                    </a:lnTo>
                    <a:lnTo>
                      <a:pt x="115" y="263"/>
                    </a:lnTo>
                    <a:lnTo>
                      <a:pt x="131" y="248"/>
                    </a:lnTo>
                    <a:lnTo>
                      <a:pt x="131" y="237"/>
                    </a:lnTo>
                    <a:lnTo>
                      <a:pt x="135" y="228"/>
                    </a:lnTo>
                    <a:lnTo>
                      <a:pt x="128" y="217"/>
                    </a:lnTo>
                    <a:lnTo>
                      <a:pt x="124" y="213"/>
                    </a:lnTo>
                    <a:lnTo>
                      <a:pt x="119" y="205"/>
                    </a:lnTo>
                    <a:lnTo>
                      <a:pt x="113" y="188"/>
                    </a:lnTo>
                    <a:lnTo>
                      <a:pt x="108" y="180"/>
                    </a:lnTo>
                    <a:lnTo>
                      <a:pt x="97" y="175"/>
                    </a:lnTo>
                    <a:lnTo>
                      <a:pt x="93" y="163"/>
                    </a:lnTo>
                    <a:lnTo>
                      <a:pt x="97" y="152"/>
                    </a:lnTo>
                    <a:lnTo>
                      <a:pt x="97" y="143"/>
                    </a:lnTo>
                    <a:lnTo>
                      <a:pt x="108" y="137"/>
                    </a:lnTo>
                    <a:lnTo>
                      <a:pt x="119" y="132"/>
                    </a:lnTo>
                    <a:lnTo>
                      <a:pt x="123" y="123"/>
                    </a:lnTo>
                    <a:lnTo>
                      <a:pt x="123" y="113"/>
                    </a:lnTo>
                    <a:lnTo>
                      <a:pt x="130" y="106"/>
                    </a:lnTo>
                    <a:lnTo>
                      <a:pt x="146" y="97"/>
                    </a:lnTo>
                    <a:lnTo>
                      <a:pt x="166" y="85"/>
                    </a:lnTo>
                    <a:lnTo>
                      <a:pt x="164" y="70"/>
                    </a:lnTo>
                    <a:lnTo>
                      <a:pt x="159" y="61"/>
                    </a:lnTo>
                    <a:lnTo>
                      <a:pt x="153" y="53"/>
                    </a:lnTo>
                    <a:lnTo>
                      <a:pt x="143" y="50"/>
                    </a:lnTo>
                    <a:lnTo>
                      <a:pt x="128" y="61"/>
                    </a:lnTo>
                    <a:lnTo>
                      <a:pt x="119" y="61"/>
                    </a:lnTo>
                    <a:lnTo>
                      <a:pt x="108" y="61"/>
                    </a:lnTo>
                    <a:lnTo>
                      <a:pt x="99" y="57"/>
                    </a:lnTo>
                    <a:lnTo>
                      <a:pt x="85" y="61"/>
                    </a:lnTo>
                    <a:lnTo>
                      <a:pt x="88" y="70"/>
                    </a:lnTo>
                    <a:lnTo>
                      <a:pt x="93" y="80"/>
                    </a:lnTo>
                    <a:lnTo>
                      <a:pt x="83" y="80"/>
                    </a:lnTo>
                    <a:lnTo>
                      <a:pt x="70" y="83"/>
                    </a:lnTo>
                    <a:lnTo>
                      <a:pt x="63" y="80"/>
                    </a:lnTo>
                    <a:lnTo>
                      <a:pt x="35" y="61"/>
                    </a:lnTo>
                    <a:lnTo>
                      <a:pt x="17" y="53"/>
                    </a:lnTo>
                    <a:lnTo>
                      <a:pt x="8" y="48"/>
                    </a:lnTo>
                    <a:lnTo>
                      <a:pt x="10" y="30"/>
                    </a:lnTo>
                    <a:lnTo>
                      <a:pt x="8" y="0"/>
                    </a:lnTo>
                    <a:lnTo>
                      <a:pt x="181" y="3"/>
                    </a:lnTo>
                    <a:lnTo>
                      <a:pt x="389" y="12"/>
                    </a:lnTo>
                    <a:lnTo>
                      <a:pt x="494" y="15"/>
                    </a:lnTo>
                    <a:lnTo>
                      <a:pt x="494" y="88"/>
                    </a:lnTo>
                    <a:lnTo>
                      <a:pt x="491" y="155"/>
                    </a:lnTo>
                    <a:lnTo>
                      <a:pt x="491" y="263"/>
                    </a:lnTo>
                    <a:lnTo>
                      <a:pt x="489" y="385"/>
                    </a:lnTo>
                    <a:lnTo>
                      <a:pt x="354" y="377"/>
                    </a:lnTo>
                    <a:lnTo>
                      <a:pt x="243" y="375"/>
                    </a:lnTo>
                    <a:lnTo>
                      <a:pt x="239" y="460"/>
                    </a:lnTo>
                    <a:lnTo>
                      <a:pt x="228" y="460"/>
                    </a:lnTo>
                    <a:lnTo>
                      <a:pt x="221" y="466"/>
                    </a:lnTo>
                    <a:lnTo>
                      <a:pt x="211" y="475"/>
                    </a:lnTo>
                    <a:lnTo>
                      <a:pt x="201" y="468"/>
                    </a:lnTo>
                    <a:lnTo>
                      <a:pt x="195" y="466"/>
                    </a:lnTo>
                    <a:lnTo>
                      <a:pt x="186" y="466"/>
                    </a:lnTo>
                    <a:lnTo>
                      <a:pt x="181" y="472"/>
                    </a:lnTo>
                    <a:lnTo>
                      <a:pt x="171" y="475"/>
                    </a:lnTo>
                    <a:lnTo>
                      <a:pt x="164" y="480"/>
                    </a:lnTo>
                    <a:lnTo>
                      <a:pt x="153" y="485"/>
                    </a:lnTo>
                    <a:lnTo>
                      <a:pt x="148" y="493"/>
                    </a:lnTo>
                    <a:lnTo>
                      <a:pt x="141" y="497"/>
                    </a:lnTo>
                    <a:lnTo>
                      <a:pt x="130" y="500"/>
                    </a:lnTo>
                    <a:lnTo>
                      <a:pt x="115" y="497"/>
                    </a:lnTo>
                    <a:lnTo>
                      <a:pt x="108" y="492"/>
                    </a:lnTo>
                    <a:lnTo>
                      <a:pt x="90" y="485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0" name="Freeform 99"/>
              <p:cNvSpPr>
                <a:spLocks/>
              </p:cNvSpPr>
              <p:nvPr/>
            </p:nvSpPr>
            <p:spPr bwMode="auto">
              <a:xfrm>
                <a:off x="2147027" y="4195657"/>
                <a:ext cx="35329" cy="71145"/>
              </a:xfrm>
              <a:custGeom>
                <a:avLst/>
                <a:gdLst/>
                <a:ahLst/>
                <a:cxnLst>
                  <a:cxn ang="0">
                    <a:pos x="6" y="30"/>
                  </a:cxn>
                  <a:cxn ang="0">
                    <a:pos x="5" y="25"/>
                  </a:cxn>
                  <a:cxn ang="0">
                    <a:pos x="5" y="10"/>
                  </a:cxn>
                  <a:cxn ang="0">
                    <a:pos x="13" y="0"/>
                  </a:cxn>
                  <a:cxn ang="0">
                    <a:pos x="15" y="6"/>
                  </a:cxn>
                  <a:cxn ang="0">
                    <a:pos x="20" y="12"/>
                  </a:cxn>
                  <a:cxn ang="0">
                    <a:pos x="21" y="21"/>
                  </a:cxn>
                  <a:cxn ang="0">
                    <a:pos x="28" y="25"/>
                  </a:cxn>
                  <a:cxn ang="0">
                    <a:pos x="37" y="30"/>
                  </a:cxn>
                  <a:cxn ang="0">
                    <a:pos x="32" y="39"/>
                  </a:cxn>
                  <a:cxn ang="0">
                    <a:pos x="32" y="48"/>
                  </a:cxn>
                  <a:cxn ang="0">
                    <a:pos x="35" y="59"/>
                  </a:cxn>
                  <a:cxn ang="0">
                    <a:pos x="40" y="68"/>
                  </a:cxn>
                  <a:cxn ang="0">
                    <a:pos x="35" y="73"/>
                  </a:cxn>
                  <a:cxn ang="0">
                    <a:pos x="21" y="78"/>
                  </a:cxn>
                  <a:cxn ang="0">
                    <a:pos x="15" y="68"/>
                  </a:cxn>
                  <a:cxn ang="0">
                    <a:pos x="21" y="57"/>
                  </a:cxn>
                  <a:cxn ang="0">
                    <a:pos x="15" y="48"/>
                  </a:cxn>
                  <a:cxn ang="0">
                    <a:pos x="6" y="45"/>
                  </a:cxn>
                  <a:cxn ang="0">
                    <a:pos x="0" y="35"/>
                  </a:cxn>
                  <a:cxn ang="0">
                    <a:pos x="6" y="30"/>
                  </a:cxn>
                </a:cxnLst>
                <a:rect l="0" t="0" r="r" b="b"/>
                <a:pathLst>
                  <a:path w="41" h="79">
                    <a:moveTo>
                      <a:pt x="6" y="30"/>
                    </a:moveTo>
                    <a:lnTo>
                      <a:pt x="5" y="25"/>
                    </a:lnTo>
                    <a:lnTo>
                      <a:pt x="5" y="10"/>
                    </a:lnTo>
                    <a:lnTo>
                      <a:pt x="13" y="0"/>
                    </a:lnTo>
                    <a:lnTo>
                      <a:pt x="15" y="6"/>
                    </a:lnTo>
                    <a:lnTo>
                      <a:pt x="20" y="12"/>
                    </a:lnTo>
                    <a:lnTo>
                      <a:pt x="21" y="21"/>
                    </a:lnTo>
                    <a:lnTo>
                      <a:pt x="28" y="25"/>
                    </a:lnTo>
                    <a:lnTo>
                      <a:pt x="37" y="30"/>
                    </a:lnTo>
                    <a:lnTo>
                      <a:pt x="32" y="39"/>
                    </a:lnTo>
                    <a:lnTo>
                      <a:pt x="32" y="48"/>
                    </a:lnTo>
                    <a:lnTo>
                      <a:pt x="35" y="59"/>
                    </a:lnTo>
                    <a:lnTo>
                      <a:pt x="40" y="68"/>
                    </a:lnTo>
                    <a:lnTo>
                      <a:pt x="35" y="73"/>
                    </a:lnTo>
                    <a:lnTo>
                      <a:pt x="21" y="78"/>
                    </a:lnTo>
                    <a:lnTo>
                      <a:pt x="15" y="68"/>
                    </a:lnTo>
                    <a:lnTo>
                      <a:pt x="21" y="57"/>
                    </a:lnTo>
                    <a:lnTo>
                      <a:pt x="15" y="48"/>
                    </a:lnTo>
                    <a:lnTo>
                      <a:pt x="6" y="45"/>
                    </a:lnTo>
                    <a:lnTo>
                      <a:pt x="0" y="35"/>
                    </a:lnTo>
                    <a:lnTo>
                      <a:pt x="6" y="30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1" name="Freeform 100"/>
              <p:cNvSpPr>
                <a:spLocks/>
              </p:cNvSpPr>
              <p:nvPr/>
            </p:nvSpPr>
            <p:spPr bwMode="auto">
              <a:xfrm>
                <a:off x="2894102" y="3667026"/>
                <a:ext cx="37914" cy="50431"/>
              </a:xfrm>
              <a:custGeom>
                <a:avLst/>
                <a:gdLst/>
                <a:ahLst/>
                <a:cxnLst>
                  <a:cxn ang="0">
                    <a:pos x="43" y="30"/>
                  </a:cxn>
                  <a:cxn ang="0">
                    <a:pos x="36" y="38"/>
                  </a:cxn>
                  <a:cxn ang="0">
                    <a:pos x="25" y="35"/>
                  </a:cxn>
                  <a:cxn ang="0">
                    <a:pos x="29" y="55"/>
                  </a:cxn>
                  <a:cxn ang="0">
                    <a:pos x="17" y="50"/>
                  </a:cxn>
                  <a:cxn ang="0">
                    <a:pos x="5" y="35"/>
                  </a:cxn>
                  <a:cxn ang="0">
                    <a:pos x="0" y="25"/>
                  </a:cxn>
                  <a:cxn ang="0">
                    <a:pos x="5" y="20"/>
                  </a:cxn>
                  <a:cxn ang="0">
                    <a:pos x="8" y="8"/>
                  </a:cxn>
                  <a:cxn ang="0">
                    <a:pos x="24" y="0"/>
                  </a:cxn>
                  <a:cxn ang="0">
                    <a:pos x="40" y="10"/>
                  </a:cxn>
                  <a:cxn ang="0">
                    <a:pos x="40" y="20"/>
                  </a:cxn>
                  <a:cxn ang="0">
                    <a:pos x="43" y="30"/>
                  </a:cxn>
                </a:cxnLst>
                <a:rect l="0" t="0" r="r" b="b"/>
                <a:pathLst>
                  <a:path w="44" h="56">
                    <a:moveTo>
                      <a:pt x="43" y="30"/>
                    </a:moveTo>
                    <a:lnTo>
                      <a:pt x="36" y="38"/>
                    </a:lnTo>
                    <a:lnTo>
                      <a:pt x="25" y="35"/>
                    </a:lnTo>
                    <a:lnTo>
                      <a:pt x="29" y="55"/>
                    </a:lnTo>
                    <a:lnTo>
                      <a:pt x="17" y="50"/>
                    </a:lnTo>
                    <a:lnTo>
                      <a:pt x="5" y="35"/>
                    </a:lnTo>
                    <a:lnTo>
                      <a:pt x="0" y="25"/>
                    </a:lnTo>
                    <a:lnTo>
                      <a:pt x="5" y="20"/>
                    </a:lnTo>
                    <a:lnTo>
                      <a:pt x="8" y="8"/>
                    </a:lnTo>
                    <a:lnTo>
                      <a:pt x="24" y="0"/>
                    </a:lnTo>
                    <a:lnTo>
                      <a:pt x="40" y="10"/>
                    </a:lnTo>
                    <a:lnTo>
                      <a:pt x="40" y="20"/>
                    </a:lnTo>
                    <a:lnTo>
                      <a:pt x="43" y="30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2" name="Freeform 101"/>
              <p:cNvSpPr>
                <a:spLocks/>
              </p:cNvSpPr>
              <p:nvPr/>
            </p:nvSpPr>
            <p:spPr bwMode="auto">
              <a:xfrm>
                <a:off x="2910474" y="3563462"/>
                <a:ext cx="760001" cy="483602"/>
              </a:xfrm>
              <a:custGeom>
                <a:avLst/>
                <a:gdLst/>
                <a:ahLst/>
                <a:cxnLst>
                  <a:cxn ang="0">
                    <a:pos x="48" y="160"/>
                  </a:cxn>
                  <a:cxn ang="0">
                    <a:pos x="0" y="202"/>
                  </a:cxn>
                  <a:cxn ang="0">
                    <a:pos x="13" y="243"/>
                  </a:cxn>
                  <a:cxn ang="0">
                    <a:pos x="32" y="274"/>
                  </a:cxn>
                  <a:cxn ang="0">
                    <a:pos x="46" y="304"/>
                  </a:cxn>
                  <a:cxn ang="0">
                    <a:pos x="81" y="302"/>
                  </a:cxn>
                  <a:cxn ang="0">
                    <a:pos x="86" y="329"/>
                  </a:cxn>
                  <a:cxn ang="0">
                    <a:pos x="113" y="356"/>
                  </a:cxn>
                  <a:cxn ang="0">
                    <a:pos x="135" y="386"/>
                  </a:cxn>
                  <a:cxn ang="0">
                    <a:pos x="161" y="411"/>
                  </a:cxn>
                  <a:cxn ang="0">
                    <a:pos x="205" y="426"/>
                  </a:cxn>
                  <a:cxn ang="0">
                    <a:pos x="246" y="433"/>
                  </a:cxn>
                  <a:cxn ang="0">
                    <a:pos x="255" y="471"/>
                  </a:cxn>
                  <a:cxn ang="0">
                    <a:pos x="295" y="489"/>
                  </a:cxn>
                  <a:cxn ang="0">
                    <a:pos x="324" y="497"/>
                  </a:cxn>
                  <a:cxn ang="0">
                    <a:pos x="356" y="508"/>
                  </a:cxn>
                  <a:cxn ang="0">
                    <a:pos x="396" y="509"/>
                  </a:cxn>
                  <a:cxn ang="0">
                    <a:pos x="436" y="519"/>
                  </a:cxn>
                  <a:cxn ang="0">
                    <a:pos x="471" y="519"/>
                  </a:cxn>
                  <a:cxn ang="0">
                    <a:pos x="506" y="521"/>
                  </a:cxn>
                  <a:cxn ang="0">
                    <a:pos x="549" y="536"/>
                  </a:cxn>
                  <a:cxn ang="0">
                    <a:pos x="591" y="517"/>
                  </a:cxn>
                  <a:cxn ang="0">
                    <a:pos x="629" y="484"/>
                  </a:cxn>
                  <a:cxn ang="0">
                    <a:pos x="818" y="461"/>
                  </a:cxn>
                  <a:cxn ang="0">
                    <a:pos x="801" y="422"/>
                  </a:cxn>
                  <a:cxn ang="0">
                    <a:pos x="787" y="396"/>
                  </a:cxn>
                  <a:cxn ang="0">
                    <a:pos x="813" y="369"/>
                  </a:cxn>
                  <a:cxn ang="0">
                    <a:pos x="827" y="336"/>
                  </a:cxn>
                  <a:cxn ang="0">
                    <a:pos x="846" y="304"/>
                  </a:cxn>
                  <a:cxn ang="0">
                    <a:pos x="867" y="272"/>
                  </a:cxn>
                  <a:cxn ang="0">
                    <a:pos x="881" y="214"/>
                  </a:cxn>
                  <a:cxn ang="0">
                    <a:pos x="836" y="214"/>
                  </a:cxn>
                  <a:cxn ang="0">
                    <a:pos x="804" y="189"/>
                  </a:cxn>
                  <a:cxn ang="0">
                    <a:pos x="764" y="180"/>
                  </a:cxn>
                  <a:cxn ang="0">
                    <a:pos x="731" y="172"/>
                  </a:cxn>
                  <a:cxn ang="0">
                    <a:pos x="682" y="148"/>
                  </a:cxn>
                  <a:cxn ang="0">
                    <a:pos x="636" y="142"/>
                  </a:cxn>
                  <a:cxn ang="0">
                    <a:pos x="598" y="134"/>
                  </a:cxn>
                  <a:cxn ang="0">
                    <a:pos x="569" y="160"/>
                  </a:cxn>
                  <a:cxn ang="0">
                    <a:pos x="533" y="147"/>
                  </a:cxn>
                  <a:cxn ang="0">
                    <a:pos x="501" y="160"/>
                  </a:cxn>
                  <a:cxn ang="0">
                    <a:pos x="473" y="142"/>
                  </a:cxn>
                  <a:cxn ang="0">
                    <a:pos x="435" y="132"/>
                  </a:cxn>
                  <a:cxn ang="0">
                    <a:pos x="401" y="100"/>
                  </a:cxn>
                  <a:cxn ang="0">
                    <a:pos x="376" y="61"/>
                  </a:cxn>
                  <a:cxn ang="0">
                    <a:pos x="221" y="20"/>
                  </a:cxn>
                  <a:cxn ang="0">
                    <a:pos x="198" y="21"/>
                  </a:cxn>
                  <a:cxn ang="0">
                    <a:pos x="173" y="40"/>
                  </a:cxn>
                  <a:cxn ang="0">
                    <a:pos x="130" y="33"/>
                  </a:cxn>
                  <a:cxn ang="0">
                    <a:pos x="97" y="88"/>
                  </a:cxn>
                </a:cxnLst>
                <a:rect l="0" t="0" r="r" b="b"/>
                <a:pathLst>
                  <a:path w="882" h="537">
                    <a:moveTo>
                      <a:pt x="66" y="142"/>
                    </a:moveTo>
                    <a:lnTo>
                      <a:pt x="66" y="148"/>
                    </a:lnTo>
                    <a:lnTo>
                      <a:pt x="57" y="155"/>
                    </a:lnTo>
                    <a:lnTo>
                      <a:pt x="48" y="160"/>
                    </a:lnTo>
                    <a:lnTo>
                      <a:pt x="43" y="165"/>
                    </a:lnTo>
                    <a:lnTo>
                      <a:pt x="30" y="180"/>
                    </a:lnTo>
                    <a:lnTo>
                      <a:pt x="5" y="194"/>
                    </a:lnTo>
                    <a:lnTo>
                      <a:pt x="0" y="202"/>
                    </a:lnTo>
                    <a:lnTo>
                      <a:pt x="0" y="214"/>
                    </a:lnTo>
                    <a:lnTo>
                      <a:pt x="3" y="223"/>
                    </a:lnTo>
                    <a:lnTo>
                      <a:pt x="10" y="230"/>
                    </a:lnTo>
                    <a:lnTo>
                      <a:pt x="13" y="243"/>
                    </a:lnTo>
                    <a:lnTo>
                      <a:pt x="13" y="254"/>
                    </a:lnTo>
                    <a:lnTo>
                      <a:pt x="17" y="264"/>
                    </a:lnTo>
                    <a:lnTo>
                      <a:pt x="25" y="272"/>
                    </a:lnTo>
                    <a:lnTo>
                      <a:pt x="32" y="274"/>
                    </a:lnTo>
                    <a:lnTo>
                      <a:pt x="43" y="280"/>
                    </a:lnTo>
                    <a:lnTo>
                      <a:pt x="46" y="289"/>
                    </a:lnTo>
                    <a:lnTo>
                      <a:pt x="43" y="296"/>
                    </a:lnTo>
                    <a:lnTo>
                      <a:pt x="46" y="304"/>
                    </a:lnTo>
                    <a:lnTo>
                      <a:pt x="53" y="307"/>
                    </a:lnTo>
                    <a:lnTo>
                      <a:pt x="57" y="302"/>
                    </a:lnTo>
                    <a:lnTo>
                      <a:pt x="72" y="304"/>
                    </a:lnTo>
                    <a:lnTo>
                      <a:pt x="81" y="302"/>
                    </a:lnTo>
                    <a:lnTo>
                      <a:pt x="78" y="309"/>
                    </a:lnTo>
                    <a:lnTo>
                      <a:pt x="88" y="312"/>
                    </a:lnTo>
                    <a:lnTo>
                      <a:pt x="85" y="322"/>
                    </a:lnTo>
                    <a:lnTo>
                      <a:pt x="86" y="329"/>
                    </a:lnTo>
                    <a:lnTo>
                      <a:pt x="92" y="342"/>
                    </a:lnTo>
                    <a:lnTo>
                      <a:pt x="103" y="345"/>
                    </a:lnTo>
                    <a:lnTo>
                      <a:pt x="110" y="347"/>
                    </a:lnTo>
                    <a:lnTo>
                      <a:pt x="113" y="356"/>
                    </a:lnTo>
                    <a:lnTo>
                      <a:pt x="125" y="359"/>
                    </a:lnTo>
                    <a:lnTo>
                      <a:pt x="133" y="365"/>
                    </a:lnTo>
                    <a:lnTo>
                      <a:pt x="131" y="376"/>
                    </a:lnTo>
                    <a:lnTo>
                      <a:pt x="135" y="386"/>
                    </a:lnTo>
                    <a:lnTo>
                      <a:pt x="135" y="394"/>
                    </a:lnTo>
                    <a:lnTo>
                      <a:pt x="143" y="402"/>
                    </a:lnTo>
                    <a:lnTo>
                      <a:pt x="155" y="402"/>
                    </a:lnTo>
                    <a:lnTo>
                      <a:pt x="161" y="411"/>
                    </a:lnTo>
                    <a:lnTo>
                      <a:pt x="171" y="417"/>
                    </a:lnTo>
                    <a:lnTo>
                      <a:pt x="181" y="420"/>
                    </a:lnTo>
                    <a:lnTo>
                      <a:pt x="191" y="426"/>
                    </a:lnTo>
                    <a:lnTo>
                      <a:pt x="205" y="426"/>
                    </a:lnTo>
                    <a:lnTo>
                      <a:pt x="213" y="422"/>
                    </a:lnTo>
                    <a:lnTo>
                      <a:pt x="228" y="429"/>
                    </a:lnTo>
                    <a:lnTo>
                      <a:pt x="237" y="429"/>
                    </a:lnTo>
                    <a:lnTo>
                      <a:pt x="246" y="433"/>
                    </a:lnTo>
                    <a:lnTo>
                      <a:pt x="250" y="439"/>
                    </a:lnTo>
                    <a:lnTo>
                      <a:pt x="258" y="442"/>
                    </a:lnTo>
                    <a:lnTo>
                      <a:pt x="257" y="461"/>
                    </a:lnTo>
                    <a:lnTo>
                      <a:pt x="255" y="471"/>
                    </a:lnTo>
                    <a:lnTo>
                      <a:pt x="264" y="481"/>
                    </a:lnTo>
                    <a:lnTo>
                      <a:pt x="275" y="487"/>
                    </a:lnTo>
                    <a:lnTo>
                      <a:pt x="281" y="494"/>
                    </a:lnTo>
                    <a:lnTo>
                      <a:pt x="295" y="489"/>
                    </a:lnTo>
                    <a:lnTo>
                      <a:pt x="303" y="489"/>
                    </a:lnTo>
                    <a:lnTo>
                      <a:pt x="311" y="493"/>
                    </a:lnTo>
                    <a:lnTo>
                      <a:pt x="321" y="493"/>
                    </a:lnTo>
                    <a:lnTo>
                      <a:pt x="324" y="497"/>
                    </a:lnTo>
                    <a:lnTo>
                      <a:pt x="333" y="502"/>
                    </a:lnTo>
                    <a:lnTo>
                      <a:pt x="341" y="504"/>
                    </a:lnTo>
                    <a:lnTo>
                      <a:pt x="350" y="504"/>
                    </a:lnTo>
                    <a:lnTo>
                      <a:pt x="356" y="508"/>
                    </a:lnTo>
                    <a:lnTo>
                      <a:pt x="366" y="508"/>
                    </a:lnTo>
                    <a:lnTo>
                      <a:pt x="375" y="508"/>
                    </a:lnTo>
                    <a:lnTo>
                      <a:pt x="386" y="517"/>
                    </a:lnTo>
                    <a:lnTo>
                      <a:pt x="396" y="509"/>
                    </a:lnTo>
                    <a:lnTo>
                      <a:pt x="404" y="509"/>
                    </a:lnTo>
                    <a:lnTo>
                      <a:pt x="415" y="513"/>
                    </a:lnTo>
                    <a:lnTo>
                      <a:pt x="430" y="517"/>
                    </a:lnTo>
                    <a:lnTo>
                      <a:pt x="436" y="519"/>
                    </a:lnTo>
                    <a:lnTo>
                      <a:pt x="444" y="519"/>
                    </a:lnTo>
                    <a:lnTo>
                      <a:pt x="456" y="509"/>
                    </a:lnTo>
                    <a:lnTo>
                      <a:pt x="466" y="513"/>
                    </a:lnTo>
                    <a:lnTo>
                      <a:pt x="471" y="519"/>
                    </a:lnTo>
                    <a:lnTo>
                      <a:pt x="481" y="517"/>
                    </a:lnTo>
                    <a:lnTo>
                      <a:pt x="489" y="508"/>
                    </a:lnTo>
                    <a:lnTo>
                      <a:pt x="501" y="513"/>
                    </a:lnTo>
                    <a:lnTo>
                      <a:pt x="506" y="521"/>
                    </a:lnTo>
                    <a:lnTo>
                      <a:pt x="515" y="524"/>
                    </a:lnTo>
                    <a:lnTo>
                      <a:pt x="524" y="524"/>
                    </a:lnTo>
                    <a:lnTo>
                      <a:pt x="535" y="529"/>
                    </a:lnTo>
                    <a:lnTo>
                      <a:pt x="549" y="536"/>
                    </a:lnTo>
                    <a:lnTo>
                      <a:pt x="562" y="536"/>
                    </a:lnTo>
                    <a:lnTo>
                      <a:pt x="569" y="536"/>
                    </a:lnTo>
                    <a:lnTo>
                      <a:pt x="578" y="524"/>
                    </a:lnTo>
                    <a:lnTo>
                      <a:pt x="591" y="517"/>
                    </a:lnTo>
                    <a:lnTo>
                      <a:pt x="593" y="504"/>
                    </a:lnTo>
                    <a:lnTo>
                      <a:pt x="602" y="497"/>
                    </a:lnTo>
                    <a:lnTo>
                      <a:pt x="618" y="487"/>
                    </a:lnTo>
                    <a:lnTo>
                      <a:pt x="629" y="484"/>
                    </a:lnTo>
                    <a:lnTo>
                      <a:pt x="826" y="487"/>
                    </a:lnTo>
                    <a:lnTo>
                      <a:pt x="829" y="481"/>
                    </a:lnTo>
                    <a:lnTo>
                      <a:pt x="826" y="469"/>
                    </a:lnTo>
                    <a:lnTo>
                      <a:pt x="818" y="461"/>
                    </a:lnTo>
                    <a:lnTo>
                      <a:pt x="814" y="447"/>
                    </a:lnTo>
                    <a:lnTo>
                      <a:pt x="811" y="440"/>
                    </a:lnTo>
                    <a:lnTo>
                      <a:pt x="807" y="434"/>
                    </a:lnTo>
                    <a:lnTo>
                      <a:pt x="801" y="422"/>
                    </a:lnTo>
                    <a:lnTo>
                      <a:pt x="798" y="414"/>
                    </a:lnTo>
                    <a:lnTo>
                      <a:pt x="789" y="409"/>
                    </a:lnTo>
                    <a:lnTo>
                      <a:pt x="782" y="402"/>
                    </a:lnTo>
                    <a:lnTo>
                      <a:pt x="787" y="396"/>
                    </a:lnTo>
                    <a:lnTo>
                      <a:pt x="789" y="386"/>
                    </a:lnTo>
                    <a:lnTo>
                      <a:pt x="798" y="376"/>
                    </a:lnTo>
                    <a:lnTo>
                      <a:pt x="804" y="371"/>
                    </a:lnTo>
                    <a:lnTo>
                      <a:pt x="813" y="369"/>
                    </a:lnTo>
                    <a:lnTo>
                      <a:pt x="822" y="362"/>
                    </a:lnTo>
                    <a:lnTo>
                      <a:pt x="827" y="356"/>
                    </a:lnTo>
                    <a:lnTo>
                      <a:pt x="829" y="347"/>
                    </a:lnTo>
                    <a:lnTo>
                      <a:pt x="827" y="336"/>
                    </a:lnTo>
                    <a:lnTo>
                      <a:pt x="826" y="325"/>
                    </a:lnTo>
                    <a:lnTo>
                      <a:pt x="831" y="320"/>
                    </a:lnTo>
                    <a:lnTo>
                      <a:pt x="834" y="307"/>
                    </a:lnTo>
                    <a:lnTo>
                      <a:pt x="846" y="304"/>
                    </a:lnTo>
                    <a:lnTo>
                      <a:pt x="853" y="298"/>
                    </a:lnTo>
                    <a:lnTo>
                      <a:pt x="858" y="289"/>
                    </a:lnTo>
                    <a:lnTo>
                      <a:pt x="861" y="280"/>
                    </a:lnTo>
                    <a:lnTo>
                      <a:pt x="867" y="272"/>
                    </a:lnTo>
                    <a:lnTo>
                      <a:pt x="867" y="260"/>
                    </a:lnTo>
                    <a:lnTo>
                      <a:pt x="881" y="234"/>
                    </a:lnTo>
                    <a:lnTo>
                      <a:pt x="881" y="223"/>
                    </a:lnTo>
                    <a:lnTo>
                      <a:pt x="881" y="214"/>
                    </a:lnTo>
                    <a:lnTo>
                      <a:pt x="869" y="210"/>
                    </a:lnTo>
                    <a:lnTo>
                      <a:pt x="861" y="210"/>
                    </a:lnTo>
                    <a:lnTo>
                      <a:pt x="854" y="210"/>
                    </a:lnTo>
                    <a:lnTo>
                      <a:pt x="836" y="214"/>
                    </a:lnTo>
                    <a:lnTo>
                      <a:pt x="827" y="210"/>
                    </a:lnTo>
                    <a:lnTo>
                      <a:pt x="818" y="202"/>
                    </a:lnTo>
                    <a:lnTo>
                      <a:pt x="813" y="194"/>
                    </a:lnTo>
                    <a:lnTo>
                      <a:pt x="804" y="189"/>
                    </a:lnTo>
                    <a:lnTo>
                      <a:pt x="796" y="183"/>
                    </a:lnTo>
                    <a:lnTo>
                      <a:pt x="786" y="180"/>
                    </a:lnTo>
                    <a:lnTo>
                      <a:pt x="773" y="180"/>
                    </a:lnTo>
                    <a:lnTo>
                      <a:pt x="764" y="180"/>
                    </a:lnTo>
                    <a:lnTo>
                      <a:pt x="756" y="182"/>
                    </a:lnTo>
                    <a:lnTo>
                      <a:pt x="746" y="182"/>
                    </a:lnTo>
                    <a:lnTo>
                      <a:pt x="738" y="182"/>
                    </a:lnTo>
                    <a:lnTo>
                      <a:pt x="731" y="172"/>
                    </a:lnTo>
                    <a:lnTo>
                      <a:pt x="728" y="165"/>
                    </a:lnTo>
                    <a:lnTo>
                      <a:pt x="718" y="160"/>
                    </a:lnTo>
                    <a:lnTo>
                      <a:pt x="691" y="147"/>
                    </a:lnTo>
                    <a:lnTo>
                      <a:pt x="682" y="148"/>
                    </a:lnTo>
                    <a:lnTo>
                      <a:pt x="674" y="155"/>
                    </a:lnTo>
                    <a:lnTo>
                      <a:pt x="662" y="152"/>
                    </a:lnTo>
                    <a:lnTo>
                      <a:pt x="651" y="148"/>
                    </a:lnTo>
                    <a:lnTo>
                      <a:pt x="636" y="142"/>
                    </a:lnTo>
                    <a:lnTo>
                      <a:pt x="624" y="140"/>
                    </a:lnTo>
                    <a:lnTo>
                      <a:pt x="618" y="140"/>
                    </a:lnTo>
                    <a:lnTo>
                      <a:pt x="606" y="132"/>
                    </a:lnTo>
                    <a:lnTo>
                      <a:pt x="598" y="134"/>
                    </a:lnTo>
                    <a:lnTo>
                      <a:pt x="591" y="143"/>
                    </a:lnTo>
                    <a:lnTo>
                      <a:pt x="582" y="148"/>
                    </a:lnTo>
                    <a:lnTo>
                      <a:pt x="576" y="155"/>
                    </a:lnTo>
                    <a:lnTo>
                      <a:pt x="569" y="160"/>
                    </a:lnTo>
                    <a:lnTo>
                      <a:pt x="561" y="155"/>
                    </a:lnTo>
                    <a:lnTo>
                      <a:pt x="553" y="152"/>
                    </a:lnTo>
                    <a:lnTo>
                      <a:pt x="544" y="148"/>
                    </a:lnTo>
                    <a:lnTo>
                      <a:pt x="533" y="147"/>
                    </a:lnTo>
                    <a:lnTo>
                      <a:pt x="524" y="152"/>
                    </a:lnTo>
                    <a:lnTo>
                      <a:pt x="516" y="152"/>
                    </a:lnTo>
                    <a:lnTo>
                      <a:pt x="511" y="162"/>
                    </a:lnTo>
                    <a:lnTo>
                      <a:pt x="501" y="160"/>
                    </a:lnTo>
                    <a:lnTo>
                      <a:pt x="496" y="147"/>
                    </a:lnTo>
                    <a:lnTo>
                      <a:pt x="488" y="147"/>
                    </a:lnTo>
                    <a:lnTo>
                      <a:pt x="481" y="142"/>
                    </a:lnTo>
                    <a:lnTo>
                      <a:pt x="473" y="142"/>
                    </a:lnTo>
                    <a:lnTo>
                      <a:pt x="469" y="132"/>
                    </a:lnTo>
                    <a:lnTo>
                      <a:pt x="458" y="128"/>
                    </a:lnTo>
                    <a:lnTo>
                      <a:pt x="444" y="128"/>
                    </a:lnTo>
                    <a:lnTo>
                      <a:pt x="435" y="132"/>
                    </a:lnTo>
                    <a:lnTo>
                      <a:pt x="430" y="123"/>
                    </a:lnTo>
                    <a:lnTo>
                      <a:pt x="411" y="115"/>
                    </a:lnTo>
                    <a:lnTo>
                      <a:pt x="406" y="110"/>
                    </a:lnTo>
                    <a:lnTo>
                      <a:pt x="401" y="100"/>
                    </a:lnTo>
                    <a:lnTo>
                      <a:pt x="393" y="92"/>
                    </a:lnTo>
                    <a:lnTo>
                      <a:pt x="391" y="83"/>
                    </a:lnTo>
                    <a:lnTo>
                      <a:pt x="388" y="70"/>
                    </a:lnTo>
                    <a:lnTo>
                      <a:pt x="376" y="61"/>
                    </a:lnTo>
                    <a:lnTo>
                      <a:pt x="368" y="53"/>
                    </a:lnTo>
                    <a:lnTo>
                      <a:pt x="278" y="53"/>
                    </a:lnTo>
                    <a:lnTo>
                      <a:pt x="248" y="52"/>
                    </a:lnTo>
                    <a:lnTo>
                      <a:pt x="221" y="20"/>
                    </a:lnTo>
                    <a:lnTo>
                      <a:pt x="201" y="0"/>
                    </a:lnTo>
                    <a:lnTo>
                      <a:pt x="181" y="20"/>
                    </a:lnTo>
                    <a:lnTo>
                      <a:pt x="190" y="21"/>
                    </a:lnTo>
                    <a:lnTo>
                      <a:pt x="198" y="21"/>
                    </a:lnTo>
                    <a:lnTo>
                      <a:pt x="210" y="30"/>
                    </a:lnTo>
                    <a:lnTo>
                      <a:pt x="195" y="47"/>
                    </a:lnTo>
                    <a:lnTo>
                      <a:pt x="186" y="52"/>
                    </a:lnTo>
                    <a:lnTo>
                      <a:pt x="173" y="40"/>
                    </a:lnTo>
                    <a:lnTo>
                      <a:pt x="163" y="37"/>
                    </a:lnTo>
                    <a:lnTo>
                      <a:pt x="113" y="0"/>
                    </a:lnTo>
                    <a:lnTo>
                      <a:pt x="128" y="25"/>
                    </a:lnTo>
                    <a:lnTo>
                      <a:pt x="130" y="33"/>
                    </a:lnTo>
                    <a:lnTo>
                      <a:pt x="118" y="47"/>
                    </a:lnTo>
                    <a:lnTo>
                      <a:pt x="110" y="61"/>
                    </a:lnTo>
                    <a:lnTo>
                      <a:pt x="106" y="80"/>
                    </a:lnTo>
                    <a:lnTo>
                      <a:pt x="97" y="88"/>
                    </a:lnTo>
                    <a:lnTo>
                      <a:pt x="88" y="123"/>
                    </a:lnTo>
                    <a:lnTo>
                      <a:pt x="75" y="127"/>
                    </a:lnTo>
                    <a:lnTo>
                      <a:pt x="66" y="142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3" name="Freeform 102"/>
              <p:cNvSpPr>
                <a:spLocks/>
              </p:cNvSpPr>
              <p:nvPr/>
            </p:nvSpPr>
            <p:spPr bwMode="auto">
              <a:xfrm>
                <a:off x="2849294" y="3483312"/>
                <a:ext cx="167165" cy="193621"/>
              </a:xfrm>
              <a:custGeom>
                <a:avLst/>
                <a:gdLst/>
                <a:ahLst/>
                <a:cxnLst>
                  <a:cxn ang="0">
                    <a:pos x="97" y="0"/>
                  </a:cxn>
                  <a:cxn ang="0">
                    <a:pos x="10" y="33"/>
                  </a:cxn>
                  <a:cxn ang="0">
                    <a:pos x="28" y="52"/>
                  </a:cxn>
                  <a:cxn ang="0">
                    <a:pos x="28" y="102"/>
                  </a:cxn>
                  <a:cxn ang="0">
                    <a:pos x="13" y="117"/>
                  </a:cxn>
                  <a:cxn ang="0">
                    <a:pos x="0" y="140"/>
                  </a:cxn>
                  <a:cxn ang="0">
                    <a:pos x="12" y="164"/>
                  </a:cxn>
                  <a:cxn ang="0">
                    <a:pos x="17" y="185"/>
                  </a:cxn>
                  <a:cxn ang="0">
                    <a:pos x="35" y="209"/>
                  </a:cxn>
                  <a:cxn ang="0">
                    <a:pos x="54" y="199"/>
                  </a:cxn>
                  <a:cxn ang="0">
                    <a:pos x="61" y="174"/>
                  </a:cxn>
                  <a:cxn ang="0">
                    <a:pos x="68" y="154"/>
                  </a:cxn>
                  <a:cxn ang="0">
                    <a:pos x="61" y="137"/>
                  </a:cxn>
                  <a:cxn ang="0">
                    <a:pos x="48" y="120"/>
                  </a:cxn>
                  <a:cxn ang="0">
                    <a:pos x="74" y="60"/>
                  </a:cxn>
                  <a:cxn ang="0">
                    <a:pos x="96" y="45"/>
                  </a:cxn>
                  <a:cxn ang="0">
                    <a:pos x="130" y="28"/>
                  </a:cxn>
                  <a:cxn ang="0">
                    <a:pos x="130" y="41"/>
                  </a:cxn>
                  <a:cxn ang="0">
                    <a:pos x="116" y="70"/>
                  </a:cxn>
                  <a:cxn ang="0">
                    <a:pos x="101" y="82"/>
                  </a:cxn>
                  <a:cxn ang="0">
                    <a:pos x="102" y="112"/>
                  </a:cxn>
                  <a:cxn ang="0">
                    <a:pos x="102" y="123"/>
                  </a:cxn>
                  <a:cxn ang="0">
                    <a:pos x="151" y="174"/>
                  </a:cxn>
                  <a:cxn ang="0">
                    <a:pos x="151" y="154"/>
                  </a:cxn>
                  <a:cxn ang="0">
                    <a:pos x="121" y="130"/>
                  </a:cxn>
                  <a:cxn ang="0">
                    <a:pos x="130" y="123"/>
                  </a:cxn>
                  <a:cxn ang="0">
                    <a:pos x="151" y="134"/>
                  </a:cxn>
                  <a:cxn ang="0">
                    <a:pos x="166" y="140"/>
                  </a:cxn>
                  <a:cxn ang="0">
                    <a:pos x="185" y="123"/>
                  </a:cxn>
                  <a:cxn ang="0">
                    <a:pos x="166" y="90"/>
                  </a:cxn>
                  <a:cxn ang="0">
                    <a:pos x="178" y="60"/>
                  </a:cxn>
                  <a:cxn ang="0">
                    <a:pos x="193" y="41"/>
                  </a:cxn>
                  <a:cxn ang="0">
                    <a:pos x="181" y="25"/>
                  </a:cxn>
                  <a:cxn ang="0">
                    <a:pos x="186" y="3"/>
                  </a:cxn>
                </a:cxnLst>
                <a:rect l="0" t="0" r="r" b="b"/>
                <a:pathLst>
                  <a:path w="194" h="215">
                    <a:moveTo>
                      <a:pt x="186" y="3"/>
                    </a:moveTo>
                    <a:lnTo>
                      <a:pt x="97" y="0"/>
                    </a:lnTo>
                    <a:lnTo>
                      <a:pt x="12" y="0"/>
                    </a:lnTo>
                    <a:lnTo>
                      <a:pt x="10" y="33"/>
                    </a:lnTo>
                    <a:lnTo>
                      <a:pt x="10" y="41"/>
                    </a:lnTo>
                    <a:lnTo>
                      <a:pt x="28" y="52"/>
                    </a:lnTo>
                    <a:lnTo>
                      <a:pt x="25" y="78"/>
                    </a:lnTo>
                    <a:lnTo>
                      <a:pt x="28" y="102"/>
                    </a:lnTo>
                    <a:lnTo>
                      <a:pt x="25" y="107"/>
                    </a:lnTo>
                    <a:lnTo>
                      <a:pt x="13" y="117"/>
                    </a:lnTo>
                    <a:lnTo>
                      <a:pt x="8" y="127"/>
                    </a:lnTo>
                    <a:lnTo>
                      <a:pt x="0" y="140"/>
                    </a:lnTo>
                    <a:lnTo>
                      <a:pt x="1" y="154"/>
                    </a:lnTo>
                    <a:lnTo>
                      <a:pt x="12" y="164"/>
                    </a:lnTo>
                    <a:lnTo>
                      <a:pt x="17" y="174"/>
                    </a:lnTo>
                    <a:lnTo>
                      <a:pt x="17" y="185"/>
                    </a:lnTo>
                    <a:lnTo>
                      <a:pt x="27" y="191"/>
                    </a:lnTo>
                    <a:lnTo>
                      <a:pt x="35" y="209"/>
                    </a:lnTo>
                    <a:lnTo>
                      <a:pt x="45" y="214"/>
                    </a:lnTo>
                    <a:lnTo>
                      <a:pt x="54" y="199"/>
                    </a:lnTo>
                    <a:lnTo>
                      <a:pt x="54" y="182"/>
                    </a:lnTo>
                    <a:lnTo>
                      <a:pt x="61" y="174"/>
                    </a:lnTo>
                    <a:lnTo>
                      <a:pt x="70" y="167"/>
                    </a:lnTo>
                    <a:lnTo>
                      <a:pt x="68" y="154"/>
                    </a:lnTo>
                    <a:lnTo>
                      <a:pt x="70" y="147"/>
                    </a:lnTo>
                    <a:lnTo>
                      <a:pt x="61" y="137"/>
                    </a:lnTo>
                    <a:lnTo>
                      <a:pt x="54" y="130"/>
                    </a:lnTo>
                    <a:lnTo>
                      <a:pt x="48" y="120"/>
                    </a:lnTo>
                    <a:lnTo>
                      <a:pt x="59" y="92"/>
                    </a:lnTo>
                    <a:lnTo>
                      <a:pt x="74" y="60"/>
                    </a:lnTo>
                    <a:lnTo>
                      <a:pt x="89" y="54"/>
                    </a:lnTo>
                    <a:lnTo>
                      <a:pt x="96" y="45"/>
                    </a:lnTo>
                    <a:lnTo>
                      <a:pt x="106" y="37"/>
                    </a:lnTo>
                    <a:lnTo>
                      <a:pt x="130" y="28"/>
                    </a:lnTo>
                    <a:lnTo>
                      <a:pt x="137" y="37"/>
                    </a:lnTo>
                    <a:lnTo>
                      <a:pt x="130" y="41"/>
                    </a:lnTo>
                    <a:lnTo>
                      <a:pt x="106" y="67"/>
                    </a:lnTo>
                    <a:lnTo>
                      <a:pt x="116" y="70"/>
                    </a:lnTo>
                    <a:lnTo>
                      <a:pt x="116" y="78"/>
                    </a:lnTo>
                    <a:lnTo>
                      <a:pt x="101" y="82"/>
                    </a:lnTo>
                    <a:lnTo>
                      <a:pt x="97" y="100"/>
                    </a:lnTo>
                    <a:lnTo>
                      <a:pt x="102" y="112"/>
                    </a:lnTo>
                    <a:lnTo>
                      <a:pt x="116" y="120"/>
                    </a:lnTo>
                    <a:lnTo>
                      <a:pt x="102" y="123"/>
                    </a:lnTo>
                    <a:lnTo>
                      <a:pt x="126" y="147"/>
                    </a:lnTo>
                    <a:lnTo>
                      <a:pt x="151" y="174"/>
                    </a:lnTo>
                    <a:lnTo>
                      <a:pt x="158" y="157"/>
                    </a:lnTo>
                    <a:lnTo>
                      <a:pt x="151" y="154"/>
                    </a:lnTo>
                    <a:lnTo>
                      <a:pt x="132" y="130"/>
                    </a:lnTo>
                    <a:lnTo>
                      <a:pt x="121" y="130"/>
                    </a:lnTo>
                    <a:lnTo>
                      <a:pt x="121" y="123"/>
                    </a:lnTo>
                    <a:lnTo>
                      <a:pt x="130" y="123"/>
                    </a:lnTo>
                    <a:lnTo>
                      <a:pt x="139" y="127"/>
                    </a:lnTo>
                    <a:lnTo>
                      <a:pt x="151" y="134"/>
                    </a:lnTo>
                    <a:lnTo>
                      <a:pt x="158" y="144"/>
                    </a:lnTo>
                    <a:lnTo>
                      <a:pt x="166" y="140"/>
                    </a:lnTo>
                    <a:lnTo>
                      <a:pt x="174" y="127"/>
                    </a:lnTo>
                    <a:lnTo>
                      <a:pt x="185" y="123"/>
                    </a:lnTo>
                    <a:lnTo>
                      <a:pt x="185" y="110"/>
                    </a:lnTo>
                    <a:lnTo>
                      <a:pt x="166" y="90"/>
                    </a:lnTo>
                    <a:lnTo>
                      <a:pt x="170" y="74"/>
                    </a:lnTo>
                    <a:lnTo>
                      <a:pt x="178" y="60"/>
                    </a:lnTo>
                    <a:lnTo>
                      <a:pt x="185" y="50"/>
                    </a:lnTo>
                    <a:lnTo>
                      <a:pt x="193" y="41"/>
                    </a:lnTo>
                    <a:lnTo>
                      <a:pt x="188" y="32"/>
                    </a:lnTo>
                    <a:lnTo>
                      <a:pt x="181" y="25"/>
                    </a:lnTo>
                    <a:lnTo>
                      <a:pt x="186" y="15"/>
                    </a:lnTo>
                    <a:lnTo>
                      <a:pt x="186" y="3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4" name="Freeform 103"/>
              <p:cNvSpPr>
                <a:spLocks/>
              </p:cNvSpPr>
              <p:nvPr/>
            </p:nvSpPr>
            <p:spPr bwMode="auto">
              <a:xfrm>
                <a:off x="2905304" y="3640009"/>
                <a:ext cx="45669" cy="35122"/>
              </a:xfrm>
              <a:custGeom>
                <a:avLst/>
                <a:gdLst/>
                <a:ahLst/>
                <a:cxnLst>
                  <a:cxn ang="0">
                    <a:pos x="31" y="7"/>
                  </a:cxn>
                  <a:cxn ang="0">
                    <a:pos x="34" y="16"/>
                  </a:cxn>
                  <a:cxn ang="0">
                    <a:pos x="43" y="16"/>
                  </a:cxn>
                  <a:cxn ang="0">
                    <a:pos x="52" y="26"/>
                  </a:cxn>
                  <a:cxn ang="0">
                    <a:pos x="26" y="38"/>
                  </a:cxn>
                  <a:cxn ang="0">
                    <a:pos x="10" y="31"/>
                  </a:cxn>
                  <a:cxn ang="0">
                    <a:pos x="0" y="26"/>
                  </a:cxn>
                  <a:cxn ang="0">
                    <a:pos x="5" y="19"/>
                  </a:cxn>
                  <a:cxn ang="0">
                    <a:pos x="14" y="9"/>
                  </a:cxn>
                  <a:cxn ang="0">
                    <a:pos x="16" y="0"/>
                  </a:cxn>
                  <a:cxn ang="0">
                    <a:pos x="27" y="0"/>
                  </a:cxn>
                  <a:cxn ang="0">
                    <a:pos x="31" y="7"/>
                  </a:cxn>
                </a:cxnLst>
                <a:rect l="0" t="0" r="r" b="b"/>
                <a:pathLst>
                  <a:path w="53" h="39">
                    <a:moveTo>
                      <a:pt x="31" y="7"/>
                    </a:moveTo>
                    <a:lnTo>
                      <a:pt x="34" y="16"/>
                    </a:lnTo>
                    <a:lnTo>
                      <a:pt x="43" y="16"/>
                    </a:lnTo>
                    <a:lnTo>
                      <a:pt x="52" y="26"/>
                    </a:lnTo>
                    <a:lnTo>
                      <a:pt x="26" y="38"/>
                    </a:lnTo>
                    <a:lnTo>
                      <a:pt x="10" y="31"/>
                    </a:lnTo>
                    <a:lnTo>
                      <a:pt x="0" y="26"/>
                    </a:lnTo>
                    <a:lnTo>
                      <a:pt x="5" y="19"/>
                    </a:lnTo>
                    <a:lnTo>
                      <a:pt x="14" y="9"/>
                    </a:lnTo>
                    <a:lnTo>
                      <a:pt x="16" y="0"/>
                    </a:lnTo>
                    <a:lnTo>
                      <a:pt x="27" y="0"/>
                    </a:lnTo>
                    <a:lnTo>
                      <a:pt x="31" y="7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5" name="Freeform 104"/>
              <p:cNvSpPr>
                <a:spLocks/>
              </p:cNvSpPr>
              <p:nvPr/>
            </p:nvSpPr>
            <p:spPr bwMode="auto">
              <a:xfrm>
                <a:off x="2757096" y="2523311"/>
                <a:ext cx="68935" cy="37823"/>
              </a:xfrm>
              <a:custGeom>
                <a:avLst/>
                <a:gdLst/>
                <a:ahLst/>
                <a:cxnLst>
                  <a:cxn ang="0">
                    <a:pos x="64" y="26"/>
                  </a:cxn>
                  <a:cxn ang="0">
                    <a:pos x="54" y="29"/>
                  </a:cxn>
                  <a:cxn ang="0">
                    <a:pos x="49" y="41"/>
                  </a:cxn>
                  <a:cxn ang="0">
                    <a:pos x="32" y="36"/>
                  </a:cxn>
                  <a:cxn ang="0">
                    <a:pos x="27" y="34"/>
                  </a:cxn>
                  <a:cxn ang="0">
                    <a:pos x="20" y="26"/>
                  </a:cxn>
                  <a:cxn ang="0">
                    <a:pos x="28" y="29"/>
                  </a:cxn>
                  <a:cxn ang="0">
                    <a:pos x="10" y="10"/>
                  </a:cxn>
                  <a:cxn ang="0">
                    <a:pos x="0" y="13"/>
                  </a:cxn>
                  <a:cxn ang="0">
                    <a:pos x="1" y="6"/>
                  </a:cxn>
                  <a:cxn ang="0">
                    <a:pos x="10" y="6"/>
                  </a:cxn>
                  <a:cxn ang="0">
                    <a:pos x="21" y="0"/>
                  </a:cxn>
                  <a:cxn ang="0">
                    <a:pos x="30" y="0"/>
                  </a:cxn>
                  <a:cxn ang="0">
                    <a:pos x="54" y="6"/>
                  </a:cxn>
                  <a:cxn ang="0">
                    <a:pos x="60" y="13"/>
                  </a:cxn>
                  <a:cxn ang="0">
                    <a:pos x="62" y="6"/>
                  </a:cxn>
                  <a:cxn ang="0">
                    <a:pos x="71" y="6"/>
                  </a:cxn>
                  <a:cxn ang="0">
                    <a:pos x="79" y="11"/>
                  </a:cxn>
                  <a:cxn ang="0">
                    <a:pos x="72" y="18"/>
                  </a:cxn>
                  <a:cxn ang="0">
                    <a:pos x="64" y="26"/>
                  </a:cxn>
                </a:cxnLst>
                <a:rect l="0" t="0" r="r" b="b"/>
                <a:pathLst>
                  <a:path w="80" h="42">
                    <a:moveTo>
                      <a:pt x="64" y="26"/>
                    </a:moveTo>
                    <a:lnTo>
                      <a:pt x="54" y="29"/>
                    </a:lnTo>
                    <a:lnTo>
                      <a:pt x="49" y="41"/>
                    </a:lnTo>
                    <a:lnTo>
                      <a:pt x="32" y="36"/>
                    </a:lnTo>
                    <a:lnTo>
                      <a:pt x="27" y="34"/>
                    </a:lnTo>
                    <a:lnTo>
                      <a:pt x="20" y="26"/>
                    </a:lnTo>
                    <a:lnTo>
                      <a:pt x="28" y="29"/>
                    </a:lnTo>
                    <a:lnTo>
                      <a:pt x="10" y="10"/>
                    </a:lnTo>
                    <a:lnTo>
                      <a:pt x="0" y="13"/>
                    </a:lnTo>
                    <a:lnTo>
                      <a:pt x="1" y="6"/>
                    </a:lnTo>
                    <a:lnTo>
                      <a:pt x="10" y="6"/>
                    </a:lnTo>
                    <a:lnTo>
                      <a:pt x="21" y="0"/>
                    </a:lnTo>
                    <a:lnTo>
                      <a:pt x="30" y="0"/>
                    </a:lnTo>
                    <a:lnTo>
                      <a:pt x="54" y="6"/>
                    </a:lnTo>
                    <a:lnTo>
                      <a:pt x="60" y="13"/>
                    </a:lnTo>
                    <a:lnTo>
                      <a:pt x="62" y="6"/>
                    </a:lnTo>
                    <a:lnTo>
                      <a:pt x="71" y="6"/>
                    </a:lnTo>
                    <a:lnTo>
                      <a:pt x="79" y="11"/>
                    </a:lnTo>
                    <a:lnTo>
                      <a:pt x="72" y="18"/>
                    </a:lnTo>
                    <a:lnTo>
                      <a:pt x="64" y="26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6" name="Freeform 105"/>
              <p:cNvSpPr>
                <a:spLocks/>
              </p:cNvSpPr>
              <p:nvPr/>
            </p:nvSpPr>
            <p:spPr bwMode="auto">
              <a:xfrm>
                <a:off x="2660587" y="2500797"/>
                <a:ext cx="132698" cy="143190"/>
              </a:xfrm>
              <a:custGeom>
                <a:avLst/>
                <a:gdLst/>
                <a:ahLst/>
                <a:cxnLst>
                  <a:cxn ang="0">
                    <a:pos x="118" y="153"/>
                  </a:cxn>
                  <a:cxn ang="0">
                    <a:pos x="103" y="148"/>
                  </a:cxn>
                  <a:cxn ang="0">
                    <a:pos x="95" y="150"/>
                  </a:cxn>
                  <a:cxn ang="0">
                    <a:pos x="75" y="133"/>
                  </a:cxn>
                  <a:cxn ang="0">
                    <a:pos x="75" y="124"/>
                  </a:cxn>
                  <a:cxn ang="0">
                    <a:pos x="69" y="133"/>
                  </a:cxn>
                  <a:cxn ang="0">
                    <a:pos x="30" y="113"/>
                  </a:cxn>
                  <a:cxn ang="0">
                    <a:pos x="8" y="81"/>
                  </a:cxn>
                  <a:cxn ang="0">
                    <a:pos x="8" y="70"/>
                  </a:cxn>
                  <a:cxn ang="0">
                    <a:pos x="0" y="58"/>
                  </a:cxn>
                  <a:cxn ang="0">
                    <a:pos x="0" y="37"/>
                  </a:cxn>
                  <a:cxn ang="0">
                    <a:pos x="1" y="28"/>
                  </a:cxn>
                  <a:cxn ang="0">
                    <a:pos x="8" y="13"/>
                  </a:cxn>
                  <a:cxn ang="0">
                    <a:pos x="15" y="10"/>
                  </a:cxn>
                  <a:cxn ang="0">
                    <a:pos x="20" y="0"/>
                  </a:cxn>
                  <a:cxn ang="0">
                    <a:pos x="44" y="3"/>
                  </a:cxn>
                  <a:cxn ang="0">
                    <a:pos x="53" y="8"/>
                  </a:cxn>
                  <a:cxn ang="0">
                    <a:pos x="53" y="18"/>
                  </a:cxn>
                  <a:cxn ang="0">
                    <a:pos x="68" y="32"/>
                  </a:cxn>
                  <a:cxn ang="0">
                    <a:pos x="89" y="52"/>
                  </a:cxn>
                  <a:cxn ang="0">
                    <a:pos x="107" y="58"/>
                  </a:cxn>
                  <a:cxn ang="0">
                    <a:pos x="118" y="63"/>
                  </a:cxn>
                  <a:cxn ang="0">
                    <a:pos x="107" y="75"/>
                  </a:cxn>
                  <a:cxn ang="0">
                    <a:pos x="120" y="86"/>
                  </a:cxn>
                  <a:cxn ang="0">
                    <a:pos x="133" y="81"/>
                  </a:cxn>
                  <a:cxn ang="0">
                    <a:pos x="139" y="88"/>
                  </a:cxn>
                  <a:cxn ang="0">
                    <a:pos x="130" y="99"/>
                  </a:cxn>
                  <a:cxn ang="0">
                    <a:pos x="114" y="95"/>
                  </a:cxn>
                  <a:cxn ang="0">
                    <a:pos x="105" y="101"/>
                  </a:cxn>
                  <a:cxn ang="0">
                    <a:pos x="107" y="121"/>
                  </a:cxn>
                  <a:cxn ang="0">
                    <a:pos x="114" y="130"/>
                  </a:cxn>
                  <a:cxn ang="0">
                    <a:pos x="118" y="139"/>
                  </a:cxn>
                  <a:cxn ang="0">
                    <a:pos x="126" y="144"/>
                  </a:cxn>
                  <a:cxn ang="0">
                    <a:pos x="141" y="148"/>
                  </a:cxn>
                  <a:cxn ang="0">
                    <a:pos x="146" y="139"/>
                  </a:cxn>
                  <a:cxn ang="0">
                    <a:pos x="153" y="144"/>
                  </a:cxn>
                  <a:cxn ang="0">
                    <a:pos x="150" y="158"/>
                  </a:cxn>
                  <a:cxn ang="0">
                    <a:pos x="134" y="153"/>
                  </a:cxn>
                  <a:cxn ang="0">
                    <a:pos x="118" y="153"/>
                  </a:cxn>
                </a:cxnLst>
                <a:rect l="0" t="0" r="r" b="b"/>
                <a:pathLst>
                  <a:path w="154" h="159">
                    <a:moveTo>
                      <a:pt x="118" y="153"/>
                    </a:moveTo>
                    <a:lnTo>
                      <a:pt x="103" y="148"/>
                    </a:lnTo>
                    <a:lnTo>
                      <a:pt x="95" y="150"/>
                    </a:lnTo>
                    <a:lnTo>
                      <a:pt x="75" y="133"/>
                    </a:lnTo>
                    <a:lnTo>
                      <a:pt x="75" y="124"/>
                    </a:lnTo>
                    <a:lnTo>
                      <a:pt x="69" y="133"/>
                    </a:lnTo>
                    <a:lnTo>
                      <a:pt x="30" y="113"/>
                    </a:lnTo>
                    <a:lnTo>
                      <a:pt x="8" y="81"/>
                    </a:lnTo>
                    <a:lnTo>
                      <a:pt x="8" y="70"/>
                    </a:lnTo>
                    <a:lnTo>
                      <a:pt x="0" y="58"/>
                    </a:lnTo>
                    <a:lnTo>
                      <a:pt x="0" y="37"/>
                    </a:lnTo>
                    <a:lnTo>
                      <a:pt x="1" y="28"/>
                    </a:lnTo>
                    <a:lnTo>
                      <a:pt x="8" y="13"/>
                    </a:lnTo>
                    <a:lnTo>
                      <a:pt x="15" y="10"/>
                    </a:lnTo>
                    <a:lnTo>
                      <a:pt x="20" y="0"/>
                    </a:lnTo>
                    <a:lnTo>
                      <a:pt x="44" y="3"/>
                    </a:lnTo>
                    <a:lnTo>
                      <a:pt x="53" y="8"/>
                    </a:lnTo>
                    <a:lnTo>
                      <a:pt x="53" y="18"/>
                    </a:lnTo>
                    <a:lnTo>
                      <a:pt x="68" y="32"/>
                    </a:lnTo>
                    <a:lnTo>
                      <a:pt x="89" y="52"/>
                    </a:lnTo>
                    <a:lnTo>
                      <a:pt x="107" y="58"/>
                    </a:lnTo>
                    <a:lnTo>
                      <a:pt x="118" y="63"/>
                    </a:lnTo>
                    <a:lnTo>
                      <a:pt x="107" y="75"/>
                    </a:lnTo>
                    <a:lnTo>
                      <a:pt x="120" y="86"/>
                    </a:lnTo>
                    <a:lnTo>
                      <a:pt x="133" y="81"/>
                    </a:lnTo>
                    <a:lnTo>
                      <a:pt x="139" y="88"/>
                    </a:lnTo>
                    <a:lnTo>
                      <a:pt x="130" y="99"/>
                    </a:lnTo>
                    <a:lnTo>
                      <a:pt x="114" y="95"/>
                    </a:lnTo>
                    <a:lnTo>
                      <a:pt x="105" y="101"/>
                    </a:lnTo>
                    <a:lnTo>
                      <a:pt x="107" y="121"/>
                    </a:lnTo>
                    <a:lnTo>
                      <a:pt x="114" y="130"/>
                    </a:lnTo>
                    <a:lnTo>
                      <a:pt x="118" y="139"/>
                    </a:lnTo>
                    <a:lnTo>
                      <a:pt x="126" y="144"/>
                    </a:lnTo>
                    <a:lnTo>
                      <a:pt x="141" y="148"/>
                    </a:lnTo>
                    <a:lnTo>
                      <a:pt x="146" y="139"/>
                    </a:lnTo>
                    <a:lnTo>
                      <a:pt x="153" y="144"/>
                    </a:lnTo>
                    <a:lnTo>
                      <a:pt x="150" y="158"/>
                    </a:lnTo>
                    <a:lnTo>
                      <a:pt x="134" y="153"/>
                    </a:lnTo>
                    <a:lnTo>
                      <a:pt x="118" y="153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7" name="Freeform 106"/>
              <p:cNvSpPr>
                <a:spLocks/>
              </p:cNvSpPr>
              <p:nvPr/>
            </p:nvSpPr>
            <p:spPr bwMode="auto">
              <a:xfrm>
                <a:off x="2801902" y="2541322"/>
                <a:ext cx="87029" cy="122476"/>
              </a:xfrm>
              <a:custGeom>
                <a:avLst/>
                <a:gdLst/>
                <a:ahLst/>
                <a:cxnLst>
                  <a:cxn ang="0">
                    <a:pos x="75" y="108"/>
                  </a:cxn>
                  <a:cxn ang="0">
                    <a:pos x="83" y="98"/>
                  </a:cxn>
                  <a:cxn ang="0">
                    <a:pos x="80" y="85"/>
                  </a:cxn>
                  <a:cxn ang="0">
                    <a:pos x="88" y="85"/>
                  </a:cxn>
                  <a:cxn ang="0">
                    <a:pos x="88" y="98"/>
                  </a:cxn>
                  <a:cxn ang="0">
                    <a:pos x="100" y="105"/>
                  </a:cxn>
                  <a:cxn ang="0">
                    <a:pos x="97" y="121"/>
                  </a:cxn>
                  <a:cxn ang="0">
                    <a:pos x="92" y="130"/>
                  </a:cxn>
                  <a:cxn ang="0">
                    <a:pos x="83" y="125"/>
                  </a:cxn>
                  <a:cxn ang="0">
                    <a:pos x="75" y="130"/>
                  </a:cxn>
                  <a:cxn ang="0">
                    <a:pos x="66" y="130"/>
                  </a:cxn>
                  <a:cxn ang="0">
                    <a:pos x="55" y="135"/>
                  </a:cxn>
                  <a:cxn ang="0">
                    <a:pos x="40" y="135"/>
                  </a:cxn>
                  <a:cxn ang="0">
                    <a:pos x="50" y="125"/>
                  </a:cxn>
                  <a:cxn ang="0">
                    <a:pos x="43" y="121"/>
                  </a:cxn>
                  <a:cxn ang="0">
                    <a:pos x="53" y="116"/>
                  </a:cxn>
                  <a:cxn ang="0">
                    <a:pos x="46" y="110"/>
                  </a:cxn>
                  <a:cxn ang="0">
                    <a:pos x="33" y="110"/>
                  </a:cxn>
                  <a:cxn ang="0">
                    <a:pos x="21" y="108"/>
                  </a:cxn>
                  <a:cxn ang="0">
                    <a:pos x="17" y="100"/>
                  </a:cxn>
                  <a:cxn ang="0">
                    <a:pos x="6" y="100"/>
                  </a:cxn>
                  <a:cxn ang="0">
                    <a:pos x="0" y="80"/>
                  </a:cxn>
                  <a:cxn ang="0">
                    <a:pos x="10" y="46"/>
                  </a:cxn>
                  <a:cxn ang="0">
                    <a:pos x="17" y="41"/>
                  </a:cxn>
                  <a:cxn ang="0">
                    <a:pos x="15" y="21"/>
                  </a:cxn>
                  <a:cxn ang="0">
                    <a:pos x="23" y="17"/>
                  </a:cxn>
                  <a:cxn ang="0">
                    <a:pos x="33" y="12"/>
                  </a:cxn>
                  <a:cxn ang="0">
                    <a:pos x="33" y="1"/>
                  </a:cxn>
                  <a:cxn ang="0">
                    <a:pos x="43" y="0"/>
                  </a:cxn>
                  <a:cxn ang="0">
                    <a:pos x="41" y="6"/>
                  </a:cxn>
                  <a:cxn ang="0">
                    <a:pos x="43" y="15"/>
                  </a:cxn>
                  <a:cxn ang="0">
                    <a:pos x="48" y="3"/>
                  </a:cxn>
                  <a:cxn ang="0">
                    <a:pos x="53" y="12"/>
                  </a:cxn>
                  <a:cxn ang="0">
                    <a:pos x="46" y="25"/>
                  </a:cxn>
                  <a:cxn ang="0">
                    <a:pos x="60" y="26"/>
                  </a:cxn>
                  <a:cxn ang="0">
                    <a:pos x="53" y="32"/>
                  </a:cxn>
                  <a:cxn ang="0">
                    <a:pos x="55" y="50"/>
                  </a:cxn>
                  <a:cxn ang="0">
                    <a:pos x="50" y="55"/>
                  </a:cxn>
                  <a:cxn ang="0">
                    <a:pos x="55" y="70"/>
                  </a:cxn>
                  <a:cxn ang="0">
                    <a:pos x="61" y="75"/>
                  </a:cxn>
                  <a:cxn ang="0">
                    <a:pos x="65" y="85"/>
                  </a:cxn>
                  <a:cxn ang="0">
                    <a:pos x="60" y="93"/>
                  </a:cxn>
                  <a:cxn ang="0">
                    <a:pos x="70" y="100"/>
                  </a:cxn>
                  <a:cxn ang="0">
                    <a:pos x="66" y="108"/>
                  </a:cxn>
                  <a:cxn ang="0">
                    <a:pos x="75" y="108"/>
                  </a:cxn>
                </a:cxnLst>
                <a:rect l="0" t="0" r="r" b="b"/>
                <a:pathLst>
                  <a:path w="101" h="136">
                    <a:moveTo>
                      <a:pt x="75" y="108"/>
                    </a:moveTo>
                    <a:lnTo>
                      <a:pt x="83" y="98"/>
                    </a:lnTo>
                    <a:lnTo>
                      <a:pt x="80" y="85"/>
                    </a:lnTo>
                    <a:lnTo>
                      <a:pt x="88" y="85"/>
                    </a:lnTo>
                    <a:lnTo>
                      <a:pt x="88" y="98"/>
                    </a:lnTo>
                    <a:lnTo>
                      <a:pt x="100" y="105"/>
                    </a:lnTo>
                    <a:lnTo>
                      <a:pt x="97" y="121"/>
                    </a:lnTo>
                    <a:lnTo>
                      <a:pt x="92" y="130"/>
                    </a:lnTo>
                    <a:lnTo>
                      <a:pt x="83" y="125"/>
                    </a:lnTo>
                    <a:lnTo>
                      <a:pt x="75" y="130"/>
                    </a:lnTo>
                    <a:lnTo>
                      <a:pt x="66" y="130"/>
                    </a:lnTo>
                    <a:lnTo>
                      <a:pt x="55" y="135"/>
                    </a:lnTo>
                    <a:lnTo>
                      <a:pt x="40" y="135"/>
                    </a:lnTo>
                    <a:lnTo>
                      <a:pt x="50" y="125"/>
                    </a:lnTo>
                    <a:lnTo>
                      <a:pt x="43" y="121"/>
                    </a:lnTo>
                    <a:lnTo>
                      <a:pt x="53" y="116"/>
                    </a:lnTo>
                    <a:lnTo>
                      <a:pt x="46" y="110"/>
                    </a:lnTo>
                    <a:lnTo>
                      <a:pt x="33" y="110"/>
                    </a:lnTo>
                    <a:lnTo>
                      <a:pt x="21" y="108"/>
                    </a:lnTo>
                    <a:lnTo>
                      <a:pt x="17" y="100"/>
                    </a:lnTo>
                    <a:lnTo>
                      <a:pt x="6" y="100"/>
                    </a:lnTo>
                    <a:lnTo>
                      <a:pt x="0" y="80"/>
                    </a:lnTo>
                    <a:lnTo>
                      <a:pt x="10" y="46"/>
                    </a:lnTo>
                    <a:lnTo>
                      <a:pt x="17" y="41"/>
                    </a:lnTo>
                    <a:lnTo>
                      <a:pt x="15" y="21"/>
                    </a:lnTo>
                    <a:lnTo>
                      <a:pt x="23" y="17"/>
                    </a:lnTo>
                    <a:lnTo>
                      <a:pt x="33" y="12"/>
                    </a:lnTo>
                    <a:lnTo>
                      <a:pt x="33" y="1"/>
                    </a:lnTo>
                    <a:lnTo>
                      <a:pt x="43" y="0"/>
                    </a:lnTo>
                    <a:lnTo>
                      <a:pt x="41" y="6"/>
                    </a:lnTo>
                    <a:lnTo>
                      <a:pt x="43" y="15"/>
                    </a:lnTo>
                    <a:lnTo>
                      <a:pt x="48" y="3"/>
                    </a:lnTo>
                    <a:lnTo>
                      <a:pt x="53" y="12"/>
                    </a:lnTo>
                    <a:lnTo>
                      <a:pt x="46" y="25"/>
                    </a:lnTo>
                    <a:lnTo>
                      <a:pt x="60" y="26"/>
                    </a:lnTo>
                    <a:lnTo>
                      <a:pt x="53" y="32"/>
                    </a:lnTo>
                    <a:lnTo>
                      <a:pt x="55" y="50"/>
                    </a:lnTo>
                    <a:lnTo>
                      <a:pt x="50" y="55"/>
                    </a:lnTo>
                    <a:lnTo>
                      <a:pt x="55" y="70"/>
                    </a:lnTo>
                    <a:lnTo>
                      <a:pt x="61" y="75"/>
                    </a:lnTo>
                    <a:lnTo>
                      <a:pt x="65" y="85"/>
                    </a:lnTo>
                    <a:lnTo>
                      <a:pt x="60" y="93"/>
                    </a:lnTo>
                    <a:lnTo>
                      <a:pt x="70" y="100"/>
                    </a:lnTo>
                    <a:lnTo>
                      <a:pt x="66" y="108"/>
                    </a:lnTo>
                    <a:lnTo>
                      <a:pt x="75" y="108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8" name="Freeform 107"/>
              <p:cNvSpPr>
                <a:spLocks/>
              </p:cNvSpPr>
              <p:nvPr/>
            </p:nvSpPr>
            <p:spPr bwMode="auto">
              <a:xfrm>
                <a:off x="2863943" y="2515206"/>
                <a:ext cx="37052" cy="45928"/>
              </a:xfrm>
              <a:custGeom>
                <a:avLst/>
                <a:gdLst/>
                <a:ahLst/>
                <a:cxnLst>
                  <a:cxn ang="0">
                    <a:pos x="42" y="27"/>
                  </a:cxn>
                  <a:cxn ang="0">
                    <a:pos x="42" y="20"/>
                  </a:cxn>
                  <a:cxn ang="0">
                    <a:pos x="34" y="18"/>
                  </a:cxn>
                  <a:cxn ang="0">
                    <a:pos x="32" y="8"/>
                  </a:cxn>
                  <a:cxn ang="0">
                    <a:pos x="13" y="0"/>
                  </a:cxn>
                  <a:cxn ang="0">
                    <a:pos x="1" y="6"/>
                  </a:cxn>
                  <a:cxn ang="0">
                    <a:pos x="0" y="20"/>
                  </a:cxn>
                  <a:cxn ang="0">
                    <a:pos x="5" y="28"/>
                  </a:cxn>
                  <a:cxn ang="0">
                    <a:pos x="6" y="38"/>
                  </a:cxn>
                  <a:cxn ang="0">
                    <a:pos x="13" y="50"/>
                  </a:cxn>
                  <a:cxn ang="0">
                    <a:pos x="21" y="43"/>
                  </a:cxn>
                  <a:cxn ang="0">
                    <a:pos x="32" y="42"/>
                  </a:cxn>
                  <a:cxn ang="0">
                    <a:pos x="42" y="27"/>
                  </a:cxn>
                </a:cxnLst>
                <a:rect l="0" t="0" r="r" b="b"/>
                <a:pathLst>
                  <a:path w="43" h="51">
                    <a:moveTo>
                      <a:pt x="42" y="27"/>
                    </a:moveTo>
                    <a:lnTo>
                      <a:pt x="42" y="20"/>
                    </a:lnTo>
                    <a:lnTo>
                      <a:pt x="34" y="18"/>
                    </a:lnTo>
                    <a:lnTo>
                      <a:pt x="32" y="8"/>
                    </a:lnTo>
                    <a:lnTo>
                      <a:pt x="13" y="0"/>
                    </a:lnTo>
                    <a:lnTo>
                      <a:pt x="1" y="6"/>
                    </a:lnTo>
                    <a:lnTo>
                      <a:pt x="0" y="20"/>
                    </a:lnTo>
                    <a:lnTo>
                      <a:pt x="5" y="28"/>
                    </a:lnTo>
                    <a:lnTo>
                      <a:pt x="6" y="38"/>
                    </a:lnTo>
                    <a:lnTo>
                      <a:pt x="13" y="50"/>
                    </a:lnTo>
                    <a:lnTo>
                      <a:pt x="21" y="43"/>
                    </a:lnTo>
                    <a:lnTo>
                      <a:pt x="32" y="42"/>
                    </a:lnTo>
                    <a:lnTo>
                      <a:pt x="42" y="27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9" name="Freeform 108"/>
              <p:cNvSpPr>
                <a:spLocks/>
              </p:cNvSpPr>
              <p:nvPr/>
            </p:nvSpPr>
            <p:spPr bwMode="auto">
              <a:xfrm>
                <a:off x="2750202" y="2418846"/>
                <a:ext cx="170612" cy="103565"/>
              </a:xfrm>
              <a:custGeom>
                <a:avLst/>
                <a:gdLst/>
                <a:ahLst/>
                <a:cxnLst>
                  <a:cxn ang="0">
                    <a:pos x="91" y="17"/>
                  </a:cxn>
                  <a:cxn ang="0">
                    <a:pos x="76" y="19"/>
                  </a:cxn>
                  <a:cxn ang="0">
                    <a:pos x="75" y="25"/>
                  </a:cxn>
                  <a:cxn ang="0">
                    <a:pos x="82" y="39"/>
                  </a:cxn>
                  <a:cxn ang="0">
                    <a:pos x="89" y="60"/>
                  </a:cxn>
                  <a:cxn ang="0">
                    <a:pos x="94" y="63"/>
                  </a:cxn>
                  <a:cxn ang="0">
                    <a:pos x="102" y="71"/>
                  </a:cxn>
                  <a:cxn ang="0">
                    <a:pos x="106" y="83"/>
                  </a:cxn>
                  <a:cxn ang="0">
                    <a:pos x="113" y="90"/>
                  </a:cxn>
                  <a:cxn ang="0">
                    <a:pos x="114" y="98"/>
                  </a:cxn>
                  <a:cxn ang="0">
                    <a:pos x="106" y="107"/>
                  </a:cxn>
                  <a:cxn ang="0">
                    <a:pos x="93" y="114"/>
                  </a:cxn>
                  <a:cxn ang="0">
                    <a:pos x="71" y="109"/>
                  </a:cxn>
                  <a:cxn ang="0">
                    <a:pos x="63" y="107"/>
                  </a:cxn>
                  <a:cxn ang="0">
                    <a:pos x="53" y="93"/>
                  </a:cxn>
                  <a:cxn ang="0">
                    <a:pos x="50" y="87"/>
                  </a:cxn>
                  <a:cxn ang="0">
                    <a:pos x="46" y="75"/>
                  </a:cxn>
                  <a:cxn ang="0">
                    <a:pos x="37" y="71"/>
                  </a:cxn>
                  <a:cxn ang="0">
                    <a:pos x="26" y="69"/>
                  </a:cxn>
                  <a:cxn ang="0">
                    <a:pos x="30" y="75"/>
                  </a:cxn>
                  <a:cxn ang="0">
                    <a:pos x="35" y="87"/>
                  </a:cxn>
                  <a:cxn ang="0">
                    <a:pos x="37" y="100"/>
                  </a:cxn>
                  <a:cxn ang="0">
                    <a:pos x="28" y="100"/>
                  </a:cxn>
                  <a:cxn ang="0">
                    <a:pos x="21" y="90"/>
                  </a:cxn>
                  <a:cxn ang="0">
                    <a:pos x="15" y="80"/>
                  </a:cxn>
                  <a:cxn ang="0">
                    <a:pos x="10" y="93"/>
                  </a:cxn>
                  <a:cxn ang="0">
                    <a:pos x="1" y="90"/>
                  </a:cxn>
                  <a:cxn ang="0">
                    <a:pos x="0" y="78"/>
                  </a:cxn>
                  <a:cxn ang="0">
                    <a:pos x="10" y="63"/>
                  </a:cxn>
                  <a:cxn ang="0">
                    <a:pos x="26" y="43"/>
                  </a:cxn>
                  <a:cxn ang="0">
                    <a:pos x="44" y="29"/>
                  </a:cxn>
                  <a:cxn ang="0">
                    <a:pos x="53" y="17"/>
                  </a:cxn>
                  <a:cxn ang="0">
                    <a:pos x="58" y="8"/>
                  </a:cxn>
                  <a:cxn ang="0">
                    <a:pos x="93" y="0"/>
                  </a:cxn>
                  <a:cxn ang="0">
                    <a:pos x="147" y="19"/>
                  </a:cxn>
                  <a:cxn ang="0">
                    <a:pos x="172" y="39"/>
                  </a:cxn>
                  <a:cxn ang="0">
                    <a:pos x="197" y="43"/>
                  </a:cxn>
                  <a:cxn ang="0">
                    <a:pos x="189" y="49"/>
                  </a:cxn>
                  <a:cxn ang="0">
                    <a:pos x="183" y="60"/>
                  </a:cxn>
                  <a:cxn ang="0">
                    <a:pos x="162" y="69"/>
                  </a:cxn>
                  <a:cxn ang="0">
                    <a:pos x="152" y="83"/>
                  </a:cxn>
                  <a:cxn ang="0">
                    <a:pos x="158" y="98"/>
                  </a:cxn>
                  <a:cxn ang="0">
                    <a:pos x="151" y="95"/>
                  </a:cxn>
                  <a:cxn ang="0">
                    <a:pos x="145" y="100"/>
                  </a:cxn>
                  <a:cxn ang="0">
                    <a:pos x="136" y="95"/>
                  </a:cxn>
                  <a:cxn ang="0">
                    <a:pos x="139" y="90"/>
                  </a:cxn>
                  <a:cxn ang="0">
                    <a:pos x="120" y="78"/>
                  </a:cxn>
                  <a:cxn ang="0">
                    <a:pos x="107" y="60"/>
                  </a:cxn>
                  <a:cxn ang="0">
                    <a:pos x="101" y="51"/>
                  </a:cxn>
                  <a:cxn ang="0">
                    <a:pos x="101" y="25"/>
                  </a:cxn>
                  <a:cxn ang="0">
                    <a:pos x="91" y="17"/>
                  </a:cxn>
                </a:cxnLst>
                <a:rect l="0" t="0" r="r" b="b"/>
                <a:pathLst>
                  <a:path w="198" h="115">
                    <a:moveTo>
                      <a:pt x="91" y="17"/>
                    </a:moveTo>
                    <a:lnTo>
                      <a:pt x="76" y="19"/>
                    </a:lnTo>
                    <a:lnTo>
                      <a:pt x="75" y="25"/>
                    </a:lnTo>
                    <a:lnTo>
                      <a:pt x="82" y="39"/>
                    </a:lnTo>
                    <a:lnTo>
                      <a:pt x="89" y="60"/>
                    </a:lnTo>
                    <a:lnTo>
                      <a:pt x="94" y="63"/>
                    </a:lnTo>
                    <a:lnTo>
                      <a:pt x="102" y="71"/>
                    </a:lnTo>
                    <a:lnTo>
                      <a:pt x="106" y="83"/>
                    </a:lnTo>
                    <a:lnTo>
                      <a:pt x="113" y="90"/>
                    </a:lnTo>
                    <a:lnTo>
                      <a:pt x="114" y="98"/>
                    </a:lnTo>
                    <a:lnTo>
                      <a:pt x="106" y="107"/>
                    </a:lnTo>
                    <a:lnTo>
                      <a:pt x="93" y="114"/>
                    </a:lnTo>
                    <a:lnTo>
                      <a:pt x="71" y="109"/>
                    </a:lnTo>
                    <a:lnTo>
                      <a:pt x="63" y="107"/>
                    </a:lnTo>
                    <a:lnTo>
                      <a:pt x="53" y="93"/>
                    </a:lnTo>
                    <a:lnTo>
                      <a:pt x="50" y="87"/>
                    </a:lnTo>
                    <a:lnTo>
                      <a:pt x="46" y="75"/>
                    </a:lnTo>
                    <a:lnTo>
                      <a:pt x="37" y="71"/>
                    </a:lnTo>
                    <a:lnTo>
                      <a:pt x="26" y="69"/>
                    </a:lnTo>
                    <a:lnTo>
                      <a:pt x="30" y="75"/>
                    </a:lnTo>
                    <a:lnTo>
                      <a:pt x="35" y="87"/>
                    </a:lnTo>
                    <a:lnTo>
                      <a:pt x="37" y="100"/>
                    </a:lnTo>
                    <a:lnTo>
                      <a:pt x="28" y="100"/>
                    </a:lnTo>
                    <a:lnTo>
                      <a:pt x="21" y="90"/>
                    </a:lnTo>
                    <a:lnTo>
                      <a:pt x="15" y="80"/>
                    </a:lnTo>
                    <a:lnTo>
                      <a:pt x="10" y="93"/>
                    </a:lnTo>
                    <a:lnTo>
                      <a:pt x="1" y="90"/>
                    </a:lnTo>
                    <a:lnTo>
                      <a:pt x="0" y="78"/>
                    </a:lnTo>
                    <a:lnTo>
                      <a:pt x="10" y="63"/>
                    </a:lnTo>
                    <a:lnTo>
                      <a:pt x="26" y="43"/>
                    </a:lnTo>
                    <a:lnTo>
                      <a:pt x="44" y="29"/>
                    </a:lnTo>
                    <a:lnTo>
                      <a:pt x="53" y="17"/>
                    </a:lnTo>
                    <a:lnTo>
                      <a:pt x="58" y="8"/>
                    </a:lnTo>
                    <a:lnTo>
                      <a:pt x="93" y="0"/>
                    </a:lnTo>
                    <a:lnTo>
                      <a:pt x="147" y="19"/>
                    </a:lnTo>
                    <a:lnTo>
                      <a:pt x="172" y="39"/>
                    </a:lnTo>
                    <a:lnTo>
                      <a:pt x="197" y="43"/>
                    </a:lnTo>
                    <a:lnTo>
                      <a:pt x="189" y="49"/>
                    </a:lnTo>
                    <a:lnTo>
                      <a:pt x="183" y="60"/>
                    </a:lnTo>
                    <a:lnTo>
                      <a:pt x="162" y="69"/>
                    </a:lnTo>
                    <a:lnTo>
                      <a:pt x="152" y="83"/>
                    </a:lnTo>
                    <a:lnTo>
                      <a:pt x="158" y="98"/>
                    </a:lnTo>
                    <a:lnTo>
                      <a:pt x="151" y="95"/>
                    </a:lnTo>
                    <a:lnTo>
                      <a:pt x="145" y="100"/>
                    </a:lnTo>
                    <a:lnTo>
                      <a:pt x="136" y="95"/>
                    </a:lnTo>
                    <a:lnTo>
                      <a:pt x="139" y="90"/>
                    </a:lnTo>
                    <a:lnTo>
                      <a:pt x="120" y="78"/>
                    </a:lnTo>
                    <a:lnTo>
                      <a:pt x="107" y="60"/>
                    </a:lnTo>
                    <a:lnTo>
                      <a:pt x="101" y="51"/>
                    </a:lnTo>
                    <a:lnTo>
                      <a:pt x="101" y="25"/>
                    </a:lnTo>
                    <a:lnTo>
                      <a:pt x="91" y="17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0" name="Freeform 109"/>
              <p:cNvSpPr>
                <a:spLocks/>
              </p:cNvSpPr>
              <p:nvPr/>
            </p:nvSpPr>
            <p:spPr bwMode="auto">
              <a:xfrm>
                <a:off x="2869974" y="2571942"/>
                <a:ext cx="30159" cy="29719"/>
              </a:xfrm>
              <a:custGeom>
                <a:avLst/>
                <a:gdLst/>
                <a:ahLst/>
                <a:cxnLst>
                  <a:cxn ang="0">
                    <a:pos x="34" y="9"/>
                  </a:cxn>
                  <a:cxn ang="0">
                    <a:pos x="29" y="22"/>
                  </a:cxn>
                  <a:cxn ang="0">
                    <a:pos x="18" y="32"/>
                  </a:cxn>
                  <a:cxn ang="0">
                    <a:pos x="14" y="21"/>
                  </a:cxn>
                  <a:cxn ang="0">
                    <a:pos x="3" y="13"/>
                  </a:cxn>
                  <a:cxn ang="0">
                    <a:pos x="0" y="8"/>
                  </a:cxn>
                  <a:cxn ang="0">
                    <a:pos x="8" y="1"/>
                  </a:cxn>
                  <a:cxn ang="0">
                    <a:pos x="14" y="0"/>
                  </a:cxn>
                  <a:cxn ang="0">
                    <a:pos x="34" y="0"/>
                  </a:cxn>
                  <a:cxn ang="0">
                    <a:pos x="27" y="4"/>
                  </a:cxn>
                  <a:cxn ang="0">
                    <a:pos x="34" y="9"/>
                  </a:cxn>
                </a:cxnLst>
                <a:rect l="0" t="0" r="r" b="b"/>
                <a:pathLst>
                  <a:path w="35" h="33">
                    <a:moveTo>
                      <a:pt x="34" y="9"/>
                    </a:moveTo>
                    <a:lnTo>
                      <a:pt x="29" y="22"/>
                    </a:lnTo>
                    <a:lnTo>
                      <a:pt x="18" y="32"/>
                    </a:lnTo>
                    <a:lnTo>
                      <a:pt x="14" y="21"/>
                    </a:lnTo>
                    <a:lnTo>
                      <a:pt x="3" y="13"/>
                    </a:lnTo>
                    <a:lnTo>
                      <a:pt x="0" y="8"/>
                    </a:lnTo>
                    <a:lnTo>
                      <a:pt x="8" y="1"/>
                    </a:lnTo>
                    <a:lnTo>
                      <a:pt x="14" y="0"/>
                    </a:lnTo>
                    <a:lnTo>
                      <a:pt x="34" y="0"/>
                    </a:lnTo>
                    <a:lnTo>
                      <a:pt x="27" y="4"/>
                    </a:lnTo>
                    <a:lnTo>
                      <a:pt x="34" y="9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1" name="Freeform 110"/>
              <p:cNvSpPr>
                <a:spLocks/>
              </p:cNvSpPr>
              <p:nvPr/>
            </p:nvSpPr>
            <p:spPr bwMode="auto">
              <a:xfrm>
                <a:off x="2933739" y="2483686"/>
                <a:ext cx="1126214" cy="295385"/>
              </a:xfrm>
              <a:custGeom>
                <a:avLst/>
                <a:gdLst/>
                <a:ahLst/>
                <a:cxnLst>
                  <a:cxn ang="0">
                    <a:pos x="110" y="159"/>
                  </a:cxn>
                  <a:cxn ang="0">
                    <a:pos x="146" y="161"/>
                  </a:cxn>
                  <a:cxn ang="0">
                    <a:pos x="145" y="121"/>
                  </a:cxn>
                  <a:cxn ang="0">
                    <a:pos x="137" y="91"/>
                  </a:cxn>
                  <a:cxn ang="0">
                    <a:pos x="123" y="71"/>
                  </a:cxn>
                  <a:cxn ang="0">
                    <a:pos x="99" y="53"/>
                  </a:cxn>
                  <a:cxn ang="0">
                    <a:pos x="160" y="71"/>
                  </a:cxn>
                  <a:cxn ang="0">
                    <a:pos x="182" y="48"/>
                  </a:cxn>
                  <a:cxn ang="0">
                    <a:pos x="160" y="15"/>
                  </a:cxn>
                  <a:cxn ang="0">
                    <a:pos x="328" y="1"/>
                  </a:cxn>
                  <a:cxn ang="0">
                    <a:pos x="1263" y="0"/>
                  </a:cxn>
                  <a:cxn ang="0">
                    <a:pos x="1247" y="21"/>
                  </a:cxn>
                  <a:cxn ang="0">
                    <a:pos x="1241" y="48"/>
                  </a:cxn>
                  <a:cxn ang="0">
                    <a:pos x="1259" y="68"/>
                  </a:cxn>
                  <a:cxn ang="0">
                    <a:pos x="1281" y="58"/>
                  </a:cxn>
                  <a:cxn ang="0">
                    <a:pos x="1306" y="75"/>
                  </a:cxn>
                  <a:cxn ang="0">
                    <a:pos x="1292" y="103"/>
                  </a:cxn>
                  <a:cxn ang="0">
                    <a:pos x="1281" y="126"/>
                  </a:cxn>
                  <a:cxn ang="0">
                    <a:pos x="1251" y="136"/>
                  </a:cxn>
                  <a:cxn ang="0">
                    <a:pos x="1223" y="126"/>
                  </a:cxn>
                  <a:cxn ang="0">
                    <a:pos x="1209" y="98"/>
                  </a:cxn>
                  <a:cxn ang="0">
                    <a:pos x="1191" y="116"/>
                  </a:cxn>
                  <a:cxn ang="0">
                    <a:pos x="1167" y="121"/>
                  </a:cxn>
                  <a:cxn ang="0">
                    <a:pos x="1134" y="124"/>
                  </a:cxn>
                  <a:cxn ang="0">
                    <a:pos x="1119" y="143"/>
                  </a:cxn>
                  <a:cxn ang="0">
                    <a:pos x="1072" y="151"/>
                  </a:cxn>
                  <a:cxn ang="0">
                    <a:pos x="1067" y="184"/>
                  </a:cxn>
                  <a:cxn ang="0">
                    <a:pos x="1074" y="214"/>
                  </a:cxn>
                  <a:cxn ang="0">
                    <a:pos x="1059" y="239"/>
                  </a:cxn>
                  <a:cxn ang="0">
                    <a:pos x="1076" y="264"/>
                  </a:cxn>
                  <a:cxn ang="0">
                    <a:pos x="1059" y="284"/>
                  </a:cxn>
                  <a:cxn ang="0">
                    <a:pos x="1072" y="312"/>
                  </a:cxn>
                  <a:cxn ang="0">
                    <a:pos x="1102" y="327"/>
                  </a:cxn>
                  <a:cxn ang="0">
                    <a:pos x="460" y="317"/>
                  </a:cxn>
                  <a:cxn ang="0">
                    <a:pos x="206" y="315"/>
                  </a:cxn>
                  <a:cxn ang="0">
                    <a:pos x="166" y="259"/>
                  </a:cxn>
                  <a:cxn ang="0">
                    <a:pos x="137" y="239"/>
                  </a:cxn>
                  <a:cxn ang="0">
                    <a:pos x="113" y="234"/>
                  </a:cxn>
                  <a:cxn ang="0">
                    <a:pos x="95" y="194"/>
                  </a:cxn>
                  <a:cxn ang="0">
                    <a:pos x="80" y="184"/>
                  </a:cxn>
                  <a:cxn ang="0">
                    <a:pos x="59" y="219"/>
                  </a:cxn>
                  <a:cxn ang="0">
                    <a:pos x="23" y="194"/>
                  </a:cxn>
                  <a:cxn ang="0">
                    <a:pos x="32" y="161"/>
                  </a:cxn>
                  <a:cxn ang="0">
                    <a:pos x="5" y="137"/>
                  </a:cxn>
                  <a:cxn ang="0">
                    <a:pos x="39" y="121"/>
                  </a:cxn>
                  <a:cxn ang="0">
                    <a:pos x="70" y="117"/>
                  </a:cxn>
                  <a:cxn ang="0">
                    <a:pos x="75" y="144"/>
                  </a:cxn>
                  <a:cxn ang="0">
                    <a:pos x="93" y="128"/>
                  </a:cxn>
                </a:cxnLst>
                <a:rect l="0" t="0" r="r" b="b"/>
                <a:pathLst>
                  <a:path w="1307" h="328">
                    <a:moveTo>
                      <a:pt x="100" y="136"/>
                    </a:moveTo>
                    <a:lnTo>
                      <a:pt x="105" y="148"/>
                    </a:lnTo>
                    <a:lnTo>
                      <a:pt x="110" y="159"/>
                    </a:lnTo>
                    <a:lnTo>
                      <a:pt x="117" y="164"/>
                    </a:lnTo>
                    <a:lnTo>
                      <a:pt x="128" y="168"/>
                    </a:lnTo>
                    <a:lnTo>
                      <a:pt x="146" y="161"/>
                    </a:lnTo>
                    <a:lnTo>
                      <a:pt x="146" y="148"/>
                    </a:lnTo>
                    <a:lnTo>
                      <a:pt x="146" y="131"/>
                    </a:lnTo>
                    <a:lnTo>
                      <a:pt x="145" y="121"/>
                    </a:lnTo>
                    <a:lnTo>
                      <a:pt x="146" y="111"/>
                    </a:lnTo>
                    <a:lnTo>
                      <a:pt x="145" y="101"/>
                    </a:lnTo>
                    <a:lnTo>
                      <a:pt x="137" y="91"/>
                    </a:lnTo>
                    <a:lnTo>
                      <a:pt x="137" y="83"/>
                    </a:lnTo>
                    <a:lnTo>
                      <a:pt x="132" y="75"/>
                    </a:lnTo>
                    <a:lnTo>
                      <a:pt x="123" y="71"/>
                    </a:lnTo>
                    <a:lnTo>
                      <a:pt x="115" y="63"/>
                    </a:lnTo>
                    <a:lnTo>
                      <a:pt x="103" y="63"/>
                    </a:lnTo>
                    <a:lnTo>
                      <a:pt x="99" y="53"/>
                    </a:lnTo>
                    <a:lnTo>
                      <a:pt x="106" y="59"/>
                    </a:lnTo>
                    <a:lnTo>
                      <a:pt x="139" y="63"/>
                    </a:lnTo>
                    <a:lnTo>
                      <a:pt x="160" y="71"/>
                    </a:lnTo>
                    <a:lnTo>
                      <a:pt x="172" y="68"/>
                    </a:lnTo>
                    <a:lnTo>
                      <a:pt x="177" y="63"/>
                    </a:lnTo>
                    <a:lnTo>
                      <a:pt x="182" y="48"/>
                    </a:lnTo>
                    <a:lnTo>
                      <a:pt x="175" y="30"/>
                    </a:lnTo>
                    <a:lnTo>
                      <a:pt x="172" y="21"/>
                    </a:lnTo>
                    <a:lnTo>
                      <a:pt x="160" y="15"/>
                    </a:lnTo>
                    <a:lnTo>
                      <a:pt x="146" y="0"/>
                    </a:lnTo>
                    <a:lnTo>
                      <a:pt x="279" y="1"/>
                    </a:lnTo>
                    <a:lnTo>
                      <a:pt x="328" y="1"/>
                    </a:lnTo>
                    <a:lnTo>
                      <a:pt x="377" y="1"/>
                    </a:lnTo>
                    <a:lnTo>
                      <a:pt x="622" y="1"/>
                    </a:lnTo>
                    <a:lnTo>
                      <a:pt x="1263" y="0"/>
                    </a:lnTo>
                    <a:lnTo>
                      <a:pt x="1264" y="1"/>
                    </a:lnTo>
                    <a:lnTo>
                      <a:pt x="1251" y="13"/>
                    </a:lnTo>
                    <a:lnTo>
                      <a:pt x="1247" y="21"/>
                    </a:lnTo>
                    <a:lnTo>
                      <a:pt x="1241" y="28"/>
                    </a:lnTo>
                    <a:lnTo>
                      <a:pt x="1243" y="35"/>
                    </a:lnTo>
                    <a:lnTo>
                      <a:pt x="1241" y="48"/>
                    </a:lnTo>
                    <a:lnTo>
                      <a:pt x="1249" y="53"/>
                    </a:lnTo>
                    <a:lnTo>
                      <a:pt x="1254" y="59"/>
                    </a:lnTo>
                    <a:lnTo>
                      <a:pt x="1259" y="68"/>
                    </a:lnTo>
                    <a:lnTo>
                      <a:pt x="1269" y="71"/>
                    </a:lnTo>
                    <a:lnTo>
                      <a:pt x="1274" y="68"/>
                    </a:lnTo>
                    <a:lnTo>
                      <a:pt x="1281" y="58"/>
                    </a:lnTo>
                    <a:lnTo>
                      <a:pt x="1292" y="59"/>
                    </a:lnTo>
                    <a:lnTo>
                      <a:pt x="1298" y="68"/>
                    </a:lnTo>
                    <a:lnTo>
                      <a:pt x="1306" y="75"/>
                    </a:lnTo>
                    <a:lnTo>
                      <a:pt x="1303" y="83"/>
                    </a:lnTo>
                    <a:lnTo>
                      <a:pt x="1298" y="91"/>
                    </a:lnTo>
                    <a:lnTo>
                      <a:pt x="1292" y="103"/>
                    </a:lnTo>
                    <a:lnTo>
                      <a:pt x="1298" y="111"/>
                    </a:lnTo>
                    <a:lnTo>
                      <a:pt x="1287" y="121"/>
                    </a:lnTo>
                    <a:lnTo>
                      <a:pt x="1281" y="126"/>
                    </a:lnTo>
                    <a:lnTo>
                      <a:pt x="1267" y="126"/>
                    </a:lnTo>
                    <a:lnTo>
                      <a:pt x="1259" y="131"/>
                    </a:lnTo>
                    <a:lnTo>
                      <a:pt x="1251" y="136"/>
                    </a:lnTo>
                    <a:lnTo>
                      <a:pt x="1236" y="136"/>
                    </a:lnTo>
                    <a:lnTo>
                      <a:pt x="1231" y="128"/>
                    </a:lnTo>
                    <a:lnTo>
                      <a:pt x="1223" y="126"/>
                    </a:lnTo>
                    <a:lnTo>
                      <a:pt x="1225" y="111"/>
                    </a:lnTo>
                    <a:lnTo>
                      <a:pt x="1218" y="106"/>
                    </a:lnTo>
                    <a:lnTo>
                      <a:pt x="1209" y="98"/>
                    </a:lnTo>
                    <a:lnTo>
                      <a:pt x="1199" y="98"/>
                    </a:lnTo>
                    <a:lnTo>
                      <a:pt x="1194" y="106"/>
                    </a:lnTo>
                    <a:lnTo>
                      <a:pt x="1191" y="116"/>
                    </a:lnTo>
                    <a:lnTo>
                      <a:pt x="1179" y="110"/>
                    </a:lnTo>
                    <a:lnTo>
                      <a:pt x="1169" y="111"/>
                    </a:lnTo>
                    <a:lnTo>
                      <a:pt x="1167" y="121"/>
                    </a:lnTo>
                    <a:lnTo>
                      <a:pt x="1152" y="117"/>
                    </a:lnTo>
                    <a:lnTo>
                      <a:pt x="1139" y="116"/>
                    </a:lnTo>
                    <a:lnTo>
                      <a:pt x="1134" y="124"/>
                    </a:lnTo>
                    <a:lnTo>
                      <a:pt x="1136" y="136"/>
                    </a:lnTo>
                    <a:lnTo>
                      <a:pt x="1129" y="143"/>
                    </a:lnTo>
                    <a:lnTo>
                      <a:pt x="1119" y="143"/>
                    </a:lnTo>
                    <a:lnTo>
                      <a:pt x="1104" y="148"/>
                    </a:lnTo>
                    <a:lnTo>
                      <a:pt x="1082" y="148"/>
                    </a:lnTo>
                    <a:lnTo>
                      <a:pt x="1072" y="151"/>
                    </a:lnTo>
                    <a:lnTo>
                      <a:pt x="1067" y="168"/>
                    </a:lnTo>
                    <a:lnTo>
                      <a:pt x="1064" y="176"/>
                    </a:lnTo>
                    <a:lnTo>
                      <a:pt x="1067" y="184"/>
                    </a:lnTo>
                    <a:lnTo>
                      <a:pt x="1078" y="194"/>
                    </a:lnTo>
                    <a:lnTo>
                      <a:pt x="1078" y="202"/>
                    </a:lnTo>
                    <a:lnTo>
                      <a:pt x="1074" y="214"/>
                    </a:lnTo>
                    <a:lnTo>
                      <a:pt x="1067" y="219"/>
                    </a:lnTo>
                    <a:lnTo>
                      <a:pt x="1064" y="228"/>
                    </a:lnTo>
                    <a:lnTo>
                      <a:pt x="1059" y="239"/>
                    </a:lnTo>
                    <a:lnTo>
                      <a:pt x="1065" y="247"/>
                    </a:lnTo>
                    <a:lnTo>
                      <a:pt x="1072" y="257"/>
                    </a:lnTo>
                    <a:lnTo>
                      <a:pt x="1076" y="264"/>
                    </a:lnTo>
                    <a:lnTo>
                      <a:pt x="1078" y="277"/>
                    </a:lnTo>
                    <a:lnTo>
                      <a:pt x="1065" y="280"/>
                    </a:lnTo>
                    <a:lnTo>
                      <a:pt x="1059" y="284"/>
                    </a:lnTo>
                    <a:lnTo>
                      <a:pt x="1059" y="294"/>
                    </a:lnTo>
                    <a:lnTo>
                      <a:pt x="1065" y="306"/>
                    </a:lnTo>
                    <a:lnTo>
                      <a:pt x="1072" y="312"/>
                    </a:lnTo>
                    <a:lnTo>
                      <a:pt x="1082" y="312"/>
                    </a:lnTo>
                    <a:lnTo>
                      <a:pt x="1089" y="317"/>
                    </a:lnTo>
                    <a:lnTo>
                      <a:pt x="1102" y="327"/>
                    </a:lnTo>
                    <a:lnTo>
                      <a:pt x="702" y="320"/>
                    </a:lnTo>
                    <a:lnTo>
                      <a:pt x="565" y="320"/>
                    </a:lnTo>
                    <a:lnTo>
                      <a:pt x="460" y="317"/>
                    </a:lnTo>
                    <a:lnTo>
                      <a:pt x="453" y="317"/>
                    </a:lnTo>
                    <a:lnTo>
                      <a:pt x="353" y="317"/>
                    </a:lnTo>
                    <a:lnTo>
                      <a:pt x="206" y="315"/>
                    </a:lnTo>
                    <a:lnTo>
                      <a:pt x="205" y="306"/>
                    </a:lnTo>
                    <a:lnTo>
                      <a:pt x="179" y="267"/>
                    </a:lnTo>
                    <a:lnTo>
                      <a:pt x="166" y="259"/>
                    </a:lnTo>
                    <a:lnTo>
                      <a:pt x="155" y="257"/>
                    </a:lnTo>
                    <a:lnTo>
                      <a:pt x="145" y="244"/>
                    </a:lnTo>
                    <a:lnTo>
                      <a:pt x="137" y="239"/>
                    </a:lnTo>
                    <a:lnTo>
                      <a:pt x="132" y="229"/>
                    </a:lnTo>
                    <a:lnTo>
                      <a:pt x="126" y="235"/>
                    </a:lnTo>
                    <a:lnTo>
                      <a:pt x="113" y="234"/>
                    </a:lnTo>
                    <a:lnTo>
                      <a:pt x="110" y="219"/>
                    </a:lnTo>
                    <a:lnTo>
                      <a:pt x="100" y="209"/>
                    </a:lnTo>
                    <a:lnTo>
                      <a:pt x="95" y="194"/>
                    </a:lnTo>
                    <a:lnTo>
                      <a:pt x="99" y="176"/>
                    </a:lnTo>
                    <a:lnTo>
                      <a:pt x="83" y="176"/>
                    </a:lnTo>
                    <a:lnTo>
                      <a:pt x="80" y="184"/>
                    </a:lnTo>
                    <a:lnTo>
                      <a:pt x="75" y="194"/>
                    </a:lnTo>
                    <a:lnTo>
                      <a:pt x="63" y="194"/>
                    </a:lnTo>
                    <a:lnTo>
                      <a:pt x="59" y="219"/>
                    </a:lnTo>
                    <a:lnTo>
                      <a:pt x="37" y="214"/>
                    </a:lnTo>
                    <a:lnTo>
                      <a:pt x="33" y="199"/>
                    </a:lnTo>
                    <a:lnTo>
                      <a:pt x="23" y="194"/>
                    </a:lnTo>
                    <a:lnTo>
                      <a:pt x="17" y="182"/>
                    </a:lnTo>
                    <a:lnTo>
                      <a:pt x="26" y="174"/>
                    </a:lnTo>
                    <a:lnTo>
                      <a:pt x="32" y="161"/>
                    </a:lnTo>
                    <a:lnTo>
                      <a:pt x="23" y="137"/>
                    </a:lnTo>
                    <a:lnTo>
                      <a:pt x="13" y="136"/>
                    </a:lnTo>
                    <a:lnTo>
                      <a:pt x="5" y="137"/>
                    </a:lnTo>
                    <a:lnTo>
                      <a:pt x="0" y="131"/>
                    </a:lnTo>
                    <a:lnTo>
                      <a:pt x="13" y="121"/>
                    </a:lnTo>
                    <a:lnTo>
                      <a:pt x="39" y="121"/>
                    </a:lnTo>
                    <a:lnTo>
                      <a:pt x="46" y="116"/>
                    </a:lnTo>
                    <a:lnTo>
                      <a:pt x="65" y="111"/>
                    </a:lnTo>
                    <a:lnTo>
                      <a:pt x="70" y="117"/>
                    </a:lnTo>
                    <a:lnTo>
                      <a:pt x="63" y="121"/>
                    </a:lnTo>
                    <a:lnTo>
                      <a:pt x="65" y="128"/>
                    </a:lnTo>
                    <a:lnTo>
                      <a:pt x="75" y="144"/>
                    </a:lnTo>
                    <a:lnTo>
                      <a:pt x="79" y="161"/>
                    </a:lnTo>
                    <a:lnTo>
                      <a:pt x="80" y="144"/>
                    </a:lnTo>
                    <a:lnTo>
                      <a:pt x="93" y="128"/>
                    </a:lnTo>
                    <a:lnTo>
                      <a:pt x="100" y="136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2" name="Freeform 111"/>
              <p:cNvSpPr>
                <a:spLocks/>
              </p:cNvSpPr>
              <p:nvPr/>
            </p:nvSpPr>
            <p:spPr bwMode="auto">
              <a:xfrm>
                <a:off x="2963036" y="2527814"/>
                <a:ext cx="47393" cy="45928"/>
              </a:xfrm>
              <a:custGeom>
                <a:avLst/>
                <a:gdLst/>
                <a:ahLst/>
                <a:cxnLst>
                  <a:cxn ang="0">
                    <a:pos x="54" y="47"/>
                  </a:cxn>
                  <a:cxn ang="0">
                    <a:pos x="40" y="42"/>
                  </a:cxn>
                  <a:cxn ang="0">
                    <a:pos x="24" y="45"/>
                  </a:cxn>
                  <a:cxn ang="0">
                    <a:pos x="17" y="50"/>
                  </a:cxn>
                  <a:cxn ang="0">
                    <a:pos x="8" y="50"/>
                  </a:cxn>
                  <a:cxn ang="0">
                    <a:pos x="0" y="30"/>
                  </a:cxn>
                  <a:cxn ang="0">
                    <a:pos x="5" y="22"/>
                  </a:cxn>
                  <a:cxn ang="0">
                    <a:pos x="0" y="8"/>
                  </a:cxn>
                  <a:cxn ang="0">
                    <a:pos x="1" y="0"/>
                  </a:cxn>
                  <a:cxn ang="0">
                    <a:pos x="8" y="5"/>
                  </a:cxn>
                  <a:cxn ang="0">
                    <a:pos x="12" y="13"/>
                  </a:cxn>
                  <a:cxn ang="0">
                    <a:pos x="32" y="28"/>
                  </a:cxn>
                  <a:cxn ang="0">
                    <a:pos x="40" y="30"/>
                  </a:cxn>
                  <a:cxn ang="0">
                    <a:pos x="47" y="40"/>
                  </a:cxn>
                  <a:cxn ang="0">
                    <a:pos x="54" y="47"/>
                  </a:cxn>
                </a:cxnLst>
                <a:rect l="0" t="0" r="r" b="b"/>
                <a:pathLst>
                  <a:path w="55" h="51">
                    <a:moveTo>
                      <a:pt x="54" y="47"/>
                    </a:moveTo>
                    <a:lnTo>
                      <a:pt x="40" y="42"/>
                    </a:lnTo>
                    <a:lnTo>
                      <a:pt x="24" y="45"/>
                    </a:lnTo>
                    <a:lnTo>
                      <a:pt x="17" y="50"/>
                    </a:lnTo>
                    <a:lnTo>
                      <a:pt x="8" y="50"/>
                    </a:lnTo>
                    <a:lnTo>
                      <a:pt x="0" y="30"/>
                    </a:lnTo>
                    <a:lnTo>
                      <a:pt x="5" y="22"/>
                    </a:lnTo>
                    <a:lnTo>
                      <a:pt x="0" y="8"/>
                    </a:lnTo>
                    <a:lnTo>
                      <a:pt x="1" y="0"/>
                    </a:lnTo>
                    <a:lnTo>
                      <a:pt x="8" y="5"/>
                    </a:lnTo>
                    <a:lnTo>
                      <a:pt x="12" y="13"/>
                    </a:lnTo>
                    <a:lnTo>
                      <a:pt x="32" y="28"/>
                    </a:lnTo>
                    <a:lnTo>
                      <a:pt x="40" y="30"/>
                    </a:lnTo>
                    <a:lnTo>
                      <a:pt x="47" y="40"/>
                    </a:lnTo>
                    <a:lnTo>
                      <a:pt x="54" y="47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3" name="Freeform 112"/>
              <p:cNvSpPr>
                <a:spLocks/>
              </p:cNvSpPr>
              <p:nvPr/>
            </p:nvSpPr>
            <p:spPr bwMode="auto">
              <a:xfrm>
                <a:off x="2913059" y="2507100"/>
                <a:ext cx="43946" cy="46829"/>
              </a:xfrm>
              <a:custGeom>
                <a:avLst/>
                <a:gdLst/>
                <a:ahLst/>
                <a:cxnLst>
                  <a:cxn ang="0">
                    <a:pos x="35" y="51"/>
                  </a:cxn>
                  <a:cxn ang="0">
                    <a:pos x="22" y="51"/>
                  </a:cxn>
                  <a:cxn ang="0">
                    <a:pos x="18" y="31"/>
                  </a:cxn>
                  <a:cxn ang="0">
                    <a:pos x="5" y="23"/>
                  </a:cxn>
                  <a:cxn ang="0">
                    <a:pos x="0" y="15"/>
                  </a:cxn>
                  <a:cxn ang="0">
                    <a:pos x="7" y="10"/>
                  </a:cxn>
                  <a:cxn ang="0">
                    <a:pos x="13" y="1"/>
                  </a:cxn>
                  <a:cxn ang="0">
                    <a:pos x="18" y="0"/>
                  </a:cxn>
                  <a:cxn ang="0">
                    <a:pos x="28" y="0"/>
                  </a:cxn>
                  <a:cxn ang="0">
                    <a:pos x="33" y="10"/>
                  </a:cxn>
                  <a:cxn ang="0">
                    <a:pos x="41" y="20"/>
                  </a:cxn>
                  <a:cxn ang="0">
                    <a:pos x="50" y="31"/>
                  </a:cxn>
                  <a:cxn ang="0">
                    <a:pos x="38" y="36"/>
                  </a:cxn>
                  <a:cxn ang="0">
                    <a:pos x="41" y="44"/>
                  </a:cxn>
                  <a:cxn ang="0">
                    <a:pos x="35" y="51"/>
                  </a:cxn>
                </a:cxnLst>
                <a:rect l="0" t="0" r="r" b="b"/>
                <a:pathLst>
                  <a:path w="51" h="52">
                    <a:moveTo>
                      <a:pt x="35" y="51"/>
                    </a:moveTo>
                    <a:lnTo>
                      <a:pt x="22" y="51"/>
                    </a:lnTo>
                    <a:lnTo>
                      <a:pt x="18" y="31"/>
                    </a:lnTo>
                    <a:lnTo>
                      <a:pt x="5" y="23"/>
                    </a:lnTo>
                    <a:lnTo>
                      <a:pt x="0" y="15"/>
                    </a:lnTo>
                    <a:lnTo>
                      <a:pt x="7" y="10"/>
                    </a:lnTo>
                    <a:lnTo>
                      <a:pt x="13" y="1"/>
                    </a:lnTo>
                    <a:lnTo>
                      <a:pt x="18" y="0"/>
                    </a:lnTo>
                    <a:lnTo>
                      <a:pt x="28" y="0"/>
                    </a:lnTo>
                    <a:lnTo>
                      <a:pt x="33" y="10"/>
                    </a:lnTo>
                    <a:lnTo>
                      <a:pt x="41" y="20"/>
                    </a:lnTo>
                    <a:lnTo>
                      <a:pt x="50" y="31"/>
                    </a:lnTo>
                    <a:lnTo>
                      <a:pt x="38" y="36"/>
                    </a:lnTo>
                    <a:lnTo>
                      <a:pt x="41" y="44"/>
                    </a:lnTo>
                    <a:lnTo>
                      <a:pt x="35" y="51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4" name="Freeform 113"/>
              <p:cNvSpPr>
                <a:spLocks/>
              </p:cNvSpPr>
              <p:nvPr/>
            </p:nvSpPr>
            <p:spPr bwMode="auto">
              <a:xfrm>
                <a:off x="2464124" y="4451418"/>
                <a:ext cx="53424" cy="47730"/>
              </a:xfrm>
              <a:custGeom>
                <a:avLst/>
                <a:gdLst/>
                <a:ahLst/>
                <a:cxnLst>
                  <a:cxn ang="0">
                    <a:pos x="51" y="52"/>
                  </a:cxn>
                  <a:cxn ang="0">
                    <a:pos x="42" y="49"/>
                  </a:cxn>
                  <a:cxn ang="0">
                    <a:pos x="30" y="44"/>
                  </a:cxn>
                  <a:cxn ang="0">
                    <a:pos x="23" y="33"/>
                  </a:cxn>
                  <a:cxn ang="0">
                    <a:pos x="8" y="24"/>
                  </a:cxn>
                  <a:cxn ang="0">
                    <a:pos x="0" y="22"/>
                  </a:cxn>
                  <a:cxn ang="0">
                    <a:pos x="0" y="0"/>
                  </a:cxn>
                  <a:cxn ang="0">
                    <a:pos x="13" y="5"/>
                  </a:cxn>
                  <a:cxn ang="0">
                    <a:pos x="21" y="13"/>
                  </a:cxn>
                  <a:cxn ang="0">
                    <a:pos x="36" y="28"/>
                  </a:cxn>
                  <a:cxn ang="0">
                    <a:pos x="51" y="39"/>
                  </a:cxn>
                  <a:cxn ang="0">
                    <a:pos x="61" y="44"/>
                  </a:cxn>
                  <a:cxn ang="0">
                    <a:pos x="51" y="52"/>
                  </a:cxn>
                </a:cxnLst>
                <a:rect l="0" t="0" r="r" b="b"/>
                <a:pathLst>
                  <a:path w="62" h="53">
                    <a:moveTo>
                      <a:pt x="51" y="52"/>
                    </a:moveTo>
                    <a:lnTo>
                      <a:pt x="42" y="49"/>
                    </a:lnTo>
                    <a:lnTo>
                      <a:pt x="30" y="44"/>
                    </a:lnTo>
                    <a:lnTo>
                      <a:pt x="23" y="33"/>
                    </a:lnTo>
                    <a:lnTo>
                      <a:pt x="8" y="24"/>
                    </a:lnTo>
                    <a:lnTo>
                      <a:pt x="0" y="22"/>
                    </a:lnTo>
                    <a:lnTo>
                      <a:pt x="0" y="0"/>
                    </a:lnTo>
                    <a:lnTo>
                      <a:pt x="13" y="5"/>
                    </a:lnTo>
                    <a:lnTo>
                      <a:pt x="21" y="13"/>
                    </a:lnTo>
                    <a:lnTo>
                      <a:pt x="36" y="28"/>
                    </a:lnTo>
                    <a:lnTo>
                      <a:pt x="51" y="39"/>
                    </a:lnTo>
                    <a:lnTo>
                      <a:pt x="61" y="44"/>
                    </a:lnTo>
                    <a:lnTo>
                      <a:pt x="51" y="52"/>
                    </a:lnTo>
                  </a:path>
                </a:pathLst>
              </a:custGeom>
              <a:solidFill>
                <a:srgbClr val="FAD62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5" name="Freeform 114"/>
              <p:cNvSpPr>
                <a:spLocks/>
              </p:cNvSpPr>
              <p:nvPr/>
            </p:nvSpPr>
            <p:spPr bwMode="auto">
              <a:xfrm>
                <a:off x="2293512" y="4294720"/>
                <a:ext cx="300726" cy="204427"/>
              </a:xfrm>
              <a:custGeom>
                <a:avLst/>
                <a:gdLst/>
                <a:ahLst/>
                <a:cxnLst>
                  <a:cxn ang="0">
                    <a:pos x="290" y="226"/>
                  </a:cxn>
                  <a:cxn ang="0">
                    <a:pos x="272" y="219"/>
                  </a:cxn>
                  <a:cxn ang="0">
                    <a:pos x="262" y="212"/>
                  </a:cxn>
                  <a:cxn ang="0">
                    <a:pos x="237" y="187"/>
                  </a:cxn>
                  <a:cxn ang="0">
                    <a:pos x="228" y="186"/>
                  </a:cxn>
                  <a:cxn ang="0">
                    <a:pos x="212" y="163"/>
                  </a:cxn>
                  <a:cxn ang="0">
                    <a:pos x="198" y="151"/>
                  </a:cxn>
                  <a:cxn ang="0">
                    <a:pos x="198" y="141"/>
                  </a:cxn>
                  <a:cxn ang="0">
                    <a:pos x="193" y="131"/>
                  </a:cxn>
                  <a:cxn ang="0">
                    <a:pos x="175" y="116"/>
                  </a:cxn>
                  <a:cxn ang="0">
                    <a:pos x="164" y="109"/>
                  </a:cxn>
                  <a:cxn ang="0">
                    <a:pos x="151" y="106"/>
                  </a:cxn>
                  <a:cxn ang="0">
                    <a:pos x="124" y="116"/>
                  </a:cxn>
                  <a:cxn ang="0">
                    <a:pos x="109" y="118"/>
                  </a:cxn>
                  <a:cxn ang="0">
                    <a:pos x="98" y="118"/>
                  </a:cxn>
                  <a:cxn ang="0">
                    <a:pos x="84" y="121"/>
                  </a:cxn>
                  <a:cxn ang="0">
                    <a:pos x="74" y="116"/>
                  </a:cxn>
                  <a:cxn ang="0">
                    <a:pos x="65" y="116"/>
                  </a:cxn>
                  <a:cxn ang="0">
                    <a:pos x="57" y="109"/>
                  </a:cxn>
                  <a:cxn ang="0">
                    <a:pos x="42" y="109"/>
                  </a:cxn>
                  <a:cxn ang="0">
                    <a:pos x="34" y="104"/>
                  </a:cxn>
                  <a:cxn ang="0">
                    <a:pos x="32" y="95"/>
                  </a:cxn>
                  <a:cxn ang="0">
                    <a:pos x="32" y="84"/>
                  </a:cxn>
                  <a:cxn ang="0">
                    <a:pos x="27" y="75"/>
                  </a:cxn>
                  <a:cxn ang="0">
                    <a:pos x="19" y="70"/>
                  </a:cxn>
                  <a:cxn ang="0">
                    <a:pos x="5" y="71"/>
                  </a:cxn>
                  <a:cxn ang="0">
                    <a:pos x="1" y="80"/>
                  </a:cxn>
                  <a:cxn ang="0">
                    <a:pos x="0" y="84"/>
                  </a:cxn>
                  <a:cxn ang="0">
                    <a:pos x="3" y="0"/>
                  </a:cxn>
                  <a:cxn ang="0">
                    <a:pos x="116" y="3"/>
                  </a:cxn>
                  <a:cxn ang="0">
                    <a:pos x="252" y="8"/>
                  </a:cxn>
                  <a:cxn ang="0">
                    <a:pos x="281" y="8"/>
                  </a:cxn>
                  <a:cxn ang="0">
                    <a:pos x="348" y="8"/>
                  </a:cxn>
                  <a:cxn ang="0">
                    <a:pos x="343" y="206"/>
                  </a:cxn>
                  <a:cxn ang="0">
                    <a:pos x="334" y="211"/>
                  </a:cxn>
                  <a:cxn ang="0">
                    <a:pos x="321" y="211"/>
                  </a:cxn>
                  <a:cxn ang="0">
                    <a:pos x="303" y="223"/>
                  </a:cxn>
                  <a:cxn ang="0">
                    <a:pos x="290" y="226"/>
                  </a:cxn>
                </a:cxnLst>
                <a:rect l="0" t="0" r="r" b="b"/>
                <a:pathLst>
                  <a:path w="349" h="227">
                    <a:moveTo>
                      <a:pt x="290" y="226"/>
                    </a:moveTo>
                    <a:lnTo>
                      <a:pt x="272" y="219"/>
                    </a:lnTo>
                    <a:lnTo>
                      <a:pt x="262" y="212"/>
                    </a:lnTo>
                    <a:lnTo>
                      <a:pt x="237" y="187"/>
                    </a:lnTo>
                    <a:lnTo>
                      <a:pt x="228" y="186"/>
                    </a:lnTo>
                    <a:lnTo>
                      <a:pt x="212" y="163"/>
                    </a:lnTo>
                    <a:lnTo>
                      <a:pt x="198" y="151"/>
                    </a:lnTo>
                    <a:lnTo>
                      <a:pt x="198" y="141"/>
                    </a:lnTo>
                    <a:lnTo>
                      <a:pt x="193" y="131"/>
                    </a:lnTo>
                    <a:lnTo>
                      <a:pt x="175" y="116"/>
                    </a:lnTo>
                    <a:lnTo>
                      <a:pt x="164" y="109"/>
                    </a:lnTo>
                    <a:lnTo>
                      <a:pt x="151" y="106"/>
                    </a:lnTo>
                    <a:lnTo>
                      <a:pt x="124" y="116"/>
                    </a:lnTo>
                    <a:lnTo>
                      <a:pt x="109" y="118"/>
                    </a:lnTo>
                    <a:lnTo>
                      <a:pt x="98" y="118"/>
                    </a:lnTo>
                    <a:lnTo>
                      <a:pt x="84" y="121"/>
                    </a:lnTo>
                    <a:lnTo>
                      <a:pt x="74" y="116"/>
                    </a:lnTo>
                    <a:lnTo>
                      <a:pt x="65" y="116"/>
                    </a:lnTo>
                    <a:lnTo>
                      <a:pt x="57" y="109"/>
                    </a:lnTo>
                    <a:lnTo>
                      <a:pt x="42" y="109"/>
                    </a:lnTo>
                    <a:lnTo>
                      <a:pt x="34" y="104"/>
                    </a:lnTo>
                    <a:lnTo>
                      <a:pt x="32" y="95"/>
                    </a:lnTo>
                    <a:lnTo>
                      <a:pt x="32" y="84"/>
                    </a:lnTo>
                    <a:lnTo>
                      <a:pt x="27" y="75"/>
                    </a:lnTo>
                    <a:lnTo>
                      <a:pt x="19" y="70"/>
                    </a:lnTo>
                    <a:lnTo>
                      <a:pt x="5" y="71"/>
                    </a:lnTo>
                    <a:lnTo>
                      <a:pt x="1" y="80"/>
                    </a:lnTo>
                    <a:lnTo>
                      <a:pt x="0" y="84"/>
                    </a:lnTo>
                    <a:lnTo>
                      <a:pt x="3" y="0"/>
                    </a:lnTo>
                    <a:lnTo>
                      <a:pt x="116" y="3"/>
                    </a:lnTo>
                    <a:lnTo>
                      <a:pt x="252" y="8"/>
                    </a:lnTo>
                    <a:lnTo>
                      <a:pt x="281" y="8"/>
                    </a:lnTo>
                    <a:lnTo>
                      <a:pt x="348" y="8"/>
                    </a:lnTo>
                    <a:lnTo>
                      <a:pt x="343" y="206"/>
                    </a:lnTo>
                    <a:lnTo>
                      <a:pt x="334" y="211"/>
                    </a:lnTo>
                    <a:lnTo>
                      <a:pt x="321" y="211"/>
                    </a:lnTo>
                    <a:lnTo>
                      <a:pt x="303" y="223"/>
                    </a:lnTo>
                    <a:lnTo>
                      <a:pt x="290" y="226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6" name="Freeform 115"/>
              <p:cNvSpPr>
                <a:spLocks/>
              </p:cNvSpPr>
              <p:nvPr/>
            </p:nvSpPr>
            <p:spPr bwMode="auto">
              <a:xfrm>
                <a:off x="2882039" y="2192804"/>
                <a:ext cx="1197733" cy="296285"/>
              </a:xfrm>
              <a:custGeom>
                <a:avLst/>
                <a:gdLst/>
                <a:ahLst/>
                <a:cxnLst>
                  <a:cxn ang="0">
                    <a:pos x="187" y="3"/>
                  </a:cxn>
                  <a:cxn ang="0">
                    <a:pos x="452" y="6"/>
                  </a:cxn>
                  <a:cxn ang="0">
                    <a:pos x="1257" y="25"/>
                  </a:cxn>
                  <a:cxn ang="0">
                    <a:pos x="1239" y="35"/>
                  </a:cxn>
                  <a:cxn ang="0">
                    <a:pos x="1255" y="53"/>
                  </a:cxn>
                  <a:cxn ang="0">
                    <a:pos x="1268" y="61"/>
                  </a:cxn>
                  <a:cxn ang="0">
                    <a:pos x="1284" y="65"/>
                  </a:cxn>
                  <a:cxn ang="0">
                    <a:pos x="1306" y="53"/>
                  </a:cxn>
                  <a:cxn ang="0">
                    <a:pos x="1322" y="72"/>
                  </a:cxn>
                  <a:cxn ang="0">
                    <a:pos x="1312" y="81"/>
                  </a:cxn>
                  <a:cxn ang="0">
                    <a:pos x="1314" y="103"/>
                  </a:cxn>
                  <a:cxn ang="0">
                    <a:pos x="1314" y="121"/>
                  </a:cxn>
                  <a:cxn ang="0">
                    <a:pos x="1324" y="133"/>
                  </a:cxn>
                  <a:cxn ang="0">
                    <a:pos x="1341" y="146"/>
                  </a:cxn>
                  <a:cxn ang="0">
                    <a:pos x="1335" y="166"/>
                  </a:cxn>
                  <a:cxn ang="0">
                    <a:pos x="1335" y="193"/>
                  </a:cxn>
                  <a:cxn ang="0">
                    <a:pos x="1337" y="214"/>
                  </a:cxn>
                  <a:cxn ang="0">
                    <a:pos x="1352" y="221"/>
                  </a:cxn>
                  <a:cxn ang="0">
                    <a:pos x="1367" y="246"/>
                  </a:cxn>
                  <a:cxn ang="0">
                    <a:pos x="1389" y="263"/>
                  </a:cxn>
                  <a:cxn ang="0">
                    <a:pos x="1372" y="271"/>
                  </a:cxn>
                  <a:cxn ang="0">
                    <a:pos x="1367" y="291"/>
                  </a:cxn>
                  <a:cxn ang="0">
                    <a:pos x="1350" y="300"/>
                  </a:cxn>
                  <a:cxn ang="0">
                    <a:pos x="1344" y="318"/>
                  </a:cxn>
                  <a:cxn ang="0">
                    <a:pos x="1324" y="323"/>
                  </a:cxn>
                  <a:cxn ang="0">
                    <a:pos x="437" y="328"/>
                  </a:cxn>
                  <a:cxn ang="0">
                    <a:pos x="339" y="328"/>
                  </a:cxn>
                  <a:cxn ang="0">
                    <a:pos x="212" y="300"/>
                  </a:cxn>
                  <a:cxn ang="0">
                    <a:pos x="210" y="278"/>
                  </a:cxn>
                  <a:cxn ang="0">
                    <a:pos x="199" y="258"/>
                  </a:cxn>
                  <a:cxn ang="0">
                    <a:pos x="214" y="234"/>
                  </a:cxn>
                  <a:cxn ang="0">
                    <a:pos x="199" y="220"/>
                  </a:cxn>
                  <a:cxn ang="0">
                    <a:pos x="165" y="201"/>
                  </a:cxn>
                  <a:cxn ang="0">
                    <a:pos x="143" y="216"/>
                  </a:cxn>
                  <a:cxn ang="0">
                    <a:pos x="119" y="240"/>
                  </a:cxn>
                  <a:cxn ang="0">
                    <a:pos x="105" y="245"/>
                  </a:cxn>
                  <a:cxn ang="0">
                    <a:pos x="105" y="221"/>
                  </a:cxn>
                  <a:cxn ang="0">
                    <a:pos x="117" y="196"/>
                  </a:cxn>
                  <a:cxn ang="0">
                    <a:pos x="105" y="186"/>
                  </a:cxn>
                  <a:cxn ang="0">
                    <a:pos x="83" y="180"/>
                  </a:cxn>
                  <a:cxn ang="0">
                    <a:pos x="73" y="196"/>
                  </a:cxn>
                  <a:cxn ang="0">
                    <a:pos x="66" y="166"/>
                  </a:cxn>
                  <a:cxn ang="0">
                    <a:pos x="63" y="143"/>
                  </a:cxn>
                  <a:cxn ang="0">
                    <a:pos x="45" y="126"/>
                  </a:cxn>
                  <a:cxn ang="0">
                    <a:pos x="19" y="106"/>
                  </a:cxn>
                  <a:cxn ang="0">
                    <a:pos x="32" y="88"/>
                  </a:cxn>
                  <a:cxn ang="0">
                    <a:pos x="46" y="73"/>
                  </a:cxn>
                  <a:cxn ang="0">
                    <a:pos x="35" y="58"/>
                  </a:cxn>
                  <a:cxn ang="0">
                    <a:pos x="19" y="61"/>
                  </a:cxn>
                  <a:cxn ang="0">
                    <a:pos x="0" y="45"/>
                  </a:cxn>
                  <a:cxn ang="0">
                    <a:pos x="10" y="30"/>
                  </a:cxn>
                  <a:cxn ang="0">
                    <a:pos x="30" y="6"/>
                  </a:cxn>
                  <a:cxn ang="0">
                    <a:pos x="41" y="0"/>
                  </a:cxn>
                </a:cxnLst>
                <a:rect l="0" t="0" r="r" b="b"/>
                <a:pathLst>
                  <a:path w="1390" h="329">
                    <a:moveTo>
                      <a:pt x="41" y="0"/>
                    </a:moveTo>
                    <a:lnTo>
                      <a:pt x="187" y="3"/>
                    </a:lnTo>
                    <a:lnTo>
                      <a:pt x="274" y="3"/>
                    </a:lnTo>
                    <a:lnTo>
                      <a:pt x="452" y="6"/>
                    </a:lnTo>
                    <a:lnTo>
                      <a:pt x="1260" y="15"/>
                    </a:lnTo>
                    <a:lnTo>
                      <a:pt x="1257" y="25"/>
                    </a:lnTo>
                    <a:lnTo>
                      <a:pt x="1254" y="33"/>
                    </a:lnTo>
                    <a:lnTo>
                      <a:pt x="1239" y="35"/>
                    </a:lnTo>
                    <a:lnTo>
                      <a:pt x="1244" y="48"/>
                    </a:lnTo>
                    <a:lnTo>
                      <a:pt x="1255" y="53"/>
                    </a:lnTo>
                    <a:lnTo>
                      <a:pt x="1260" y="58"/>
                    </a:lnTo>
                    <a:lnTo>
                      <a:pt x="1268" y="61"/>
                    </a:lnTo>
                    <a:lnTo>
                      <a:pt x="1277" y="72"/>
                    </a:lnTo>
                    <a:lnTo>
                      <a:pt x="1284" y="65"/>
                    </a:lnTo>
                    <a:lnTo>
                      <a:pt x="1294" y="58"/>
                    </a:lnTo>
                    <a:lnTo>
                      <a:pt x="1306" y="53"/>
                    </a:lnTo>
                    <a:lnTo>
                      <a:pt x="1314" y="58"/>
                    </a:lnTo>
                    <a:lnTo>
                      <a:pt x="1322" y="72"/>
                    </a:lnTo>
                    <a:lnTo>
                      <a:pt x="1319" y="81"/>
                    </a:lnTo>
                    <a:lnTo>
                      <a:pt x="1312" y="81"/>
                    </a:lnTo>
                    <a:lnTo>
                      <a:pt x="1314" y="95"/>
                    </a:lnTo>
                    <a:lnTo>
                      <a:pt x="1314" y="103"/>
                    </a:lnTo>
                    <a:lnTo>
                      <a:pt x="1315" y="112"/>
                    </a:lnTo>
                    <a:lnTo>
                      <a:pt x="1314" y="121"/>
                    </a:lnTo>
                    <a:lnTo>
                      <a:pt x="1317" y="128"/>
                    </a:lnTo>
                    <a:lnTo>
                      <a:pt x="1324" y="133"/>
                    </a:lnTo>
                    <a:lnTo>
                      <a:pt x="1335" y="138"/>
                    </a:lnTo>
                    <a:lnTo>
                      <a:pt x="1341" y="146"/>
                    </a:lnTo>
                    <a:lnTo>
                      <a:pt x="1335" y="153"/>
                    </a:lnTo>
                    <a:lnTo>
                      <a:pt x="1335" y="166"/>
                    </a:lnTo>
                    <a:lnTo>
                      <a:pt x="1330" y="183"/>
                    </a:lnTo>
                    <a:lnTo>
                      <a:pt x="1335" y="193"/>
                    </a:lnTo>
                    <a:lnTo>
                      <a:pt x="1337" y="201"/>
                    </a:lnTo>
                    <a:lnTo>
                      <a:pt x="1337" y="214"/>
                    </a:lnTo>
                    <a:lnTo>
                      <a:pt x="1344" y="220"/>
                    </a:lnTo>
                    <a:lnTo>
                      <a:pt x="1352" y="221"/>
                    </a:lnTo>
                    <a:lnTo>
                      <a:pt x="1362" y="241"/>
                    </a:lnTo>
                    <a:lnTo>
                      <a:pt x="1367" y="246"/>
                    </a:lnTo>
                    <a:lnTo>
                      <a:pt x="1375" y="254"/>
                    </a:lnTo>
                    <a:lnTo>
                      <a:pt x="1389" y="263"/>
                    </a:lnTo>
                    <a:lnTo>
                      <a:pt x="1377" y="265"/>
                    </a:lnTo>
                    <a:lnTo>
                      <a:pt x="1372" y="271"/>
                    </a:lnTo>
                    <a:lnTo>
                      <a:pt x="1374" y="283"/>
                    </a:lnTo>
                    <a:lnTo>
                      <a:pt x="1367" y="291"/>
                    </a:lnTo>
                    <a:lnTo>
                      <a:pt x="1355" y="291"/>
                    </a:lnTo>
                    <a:lnTo>
                      <a:pt x="1350" y="300"/>
                    </a:lnTo>
                    <a:lnTo>
                      <a:pt x="1347" y="311"/>
                    </a:lnTo>
                    <a:lnTo>
                      <a:pt x="1344" y="318"/>
                    </a:lnTo>
                    <a:lnTo>
                      <a:pt x="1332" y="320"/>
                    </a:lnTo>
                    <a:lnTo>
                      <a:pt x="1324" y="323"/>
                    </a:lnTo>
                    <a:lnTo>
                      <a:pt x="683" y="328"/>
                    </a:lnTo>
                    <a:lnTo>
                      <a:pt x="437" y="328"/>
                    </a:lnTo>
                    <a:lnTo>
                      <a:pt x="389" y="328"/>
                    </a:lnTo>
                    <a:lnTo>
                      <a:pt x="339" y="328"/>
                    </a:lnTo>
                    <a:lnTo>
                      <a:pt x="202" y="306"/>
                    </a:lnTo>
                    <a:lnTo>
                      <a:pt x="212" y="300"/>
                    </a:lnTo>
                    <a:lnTo>
                      <a:pt x="214" y="288"/>
                    </a:lnTo>
                    <a:lnTo>
                      <a:pt x="210" y="278"/>
                    </a:lnTo>
                    <a:lnTo>
                      <a:pt x="199" y="268"/>
                    </a:lnTo>
                    <a:lnTo>
                      <a:pt x="199" y="258"/>
                    </a:lnTo>
                    <a:lnTo>
                      <a:pt x="208" y="246"/>
                    </a:lnTo>
                    <a:lnTo>
                      <a:pt x="214" y="234"/>
                    </a:lnTo>
                    <a:lnTo>
                      <a:pt x="212" y="220"/>
                    </a:lnTo>
                    <a:lnTo>
                      <a:pt x="199" y="220"/>
                    </a:lnTo>
                    <a:lnTo>
                      <a:pt x="188" y="208"/>
                    </a:lnTo>
                    <a:lnTo>
                      <a:pt x="165" y="201"/>
                    </a:lnTo>
                    <a:lnTo>
                      <a:pt x="148" y="205"/>
                    </a:lnTo>
                    <a:lnTo>
                      <a:pt x="143" y="216"/>
                    </a:lnTo>
                    <a:lnTo>
                      <a:pt x="135" y="220"/>
                    </a:lnTo>
                    <a:lnTo>
                      <a:pt x="119" y="240"/>
                    </a:lnTo>
                    <a:lnTo>
                      <a:pt x="112" y="254"/>
                    </a:lnTo>
                    <a:lnTo>
                      <a:pt x="105" y="245"/>
                    </a:lnTo>
                    <a:lnTo>
                      <a:pt x="95" y="236"/>
                    </a:lnTo>
                    <a:lnTo>
                      <a:pt x="105" y="221"/>
                    </a:lnTo>
                    <a:lnTo>
                      <a:pt x="113" y="216"/>
                    </a:lnTo>
                    <a:lnTo>
                      <a:pt x="117" y="196"/>
                    </a:lnTo>
                    <a:lnTo>
                      <a:pt x="110" y="193"/>
                    </a:lnTo>
                    <a:lnTo>
                      <a:pt x="105" y="186"/>
                    </a:lnTo>
                    <a:lnTo>
                      <a:pt x="95" y="183"/>
                    </a:lnTo>
                    <a:lnTo>
                      <a:pt x="83" y="180"/>
                    </a:lnTo>
                    <a:lnTo>
                      <a:pt x="83" y="196"/>
                    </a:lnTo>
                    <a:lnTo>
                      <a:pt x="73" y="196"/>
                    </a:lnTo>
                    <a:lnTo>
                      <a:pt x="66" y="176"/>
                    </a:lnTo>
                    <a:lnTo>
                      <a:pt x="66" y="166"/>
                    </a:lnTo>
                    <a:lnTo>
                      <a:pt x="66" y="158"/>
                    </a:lnTo>
                    <a:lnTo>
                      <a:pt x="63" y="143"/>
                    </a:lnTo>
                    <a:lnTo>
                      <a:pt x="59" y="133"/>
                    </a:lnTo>
                    <a:lnTo>
                      <a:pt x="45" y="126"/>
                    </a:lnTo>
                    <a:lnTo>
                      <a:pt x="37" y="121"/>
                    </a:lnTo>
                    <a:lnTo>
                      <a:pt x="19" y="106"/>
                    </a:lnTo>
                    <a:lnTo>
                      <a:pt x="15" y="95"/>
                    </a:lnTo>
                    <a:lnTo>
                      <a:pt x="32" y="88"/>
                    </a:lnTo>
                    <a:lnTo>
                      <a:pt x="37" y="81"/>
                    </a:lnTo>
                    <a:lnTo>
                      <a:pt x="46" y="73"/>
                    </a:lnTo>
                    <a:lnTo>
                      <a:pt x="45" y="61"/>
                    </a:lnTo>
                    <a:lnTo>
                      <a:pt x="35" y="58"/>
                    </a:lnTo>
                    <a:lnTo>
                      <a:pt x="25" y="60"/>
                    </a:lnTo>
                    <a:lnTo>
                      <a:pt x="19" y="61"/>
                    </a:lnTo>
                    <a:lnTo>
                      <a:pt x="0" y="58"/>
                    </a:lnTo>
                    <a:lnTo>
                      <a:pt x="0" y="45"/>
                    </a:lnTo>
                    <a:lnTo>
                      <a:pt x="3" y="35"/>
                    </a:lnTo>
                    <a:lnTo>
                      <a:pt x="10" y="30"/>
                    </a:lnTo>
                    <a:lnTo>
                      <a:pt x="15" y="21"/>
                    </a:lnTo>
                    <a:lnTo>
                      <a:pt x="30" y="6"/>
                    </a:lnTo>
                    <a:lnTo>
                      <a:pt x="37" y="3"/>
                    </a:lnTo>
                    <a:lnTo>
                      <a:pt x="41" y="0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7" name="Freeform 116"/>
              <p:cNvSpPr>
                <a:spLocks/>
              </p:cNvSpPr>
              <p:nvPr/>
            </p:nvSpPr>
            <p:spPr bwMode="auto">
              <a:xfrm>
                <a:off x="2935463" y="2400834"/>
                <a:ext cx="63765" cy="84653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5" y="0"/>
                  </a:cxn>
                  <a:cxn ang="0">
                    <a:pos x="15" y="10"/>
                  </a:cxn>
                  <a:cxn ang="0">
                    <a:pos x="25" y="25"/>
                  </a:cxn>
                  <a:cxn ang="0">
                    <a:pos x="38" y="47"/>
                  </a:cxn>
                  <a:cxn ang="0">
                    <a:pos x="45" y="49"/>
                  </a:cxn>
                  <a:cxn ang="0">
                    <a:pos x="61" y="66"/>
                  </a:cxn>
                  <a:cxn ang="0">
                    <a:pos x="68" y="78"/>
                  </a:cxn>
                  <a:cxn ang="0">
                    <a:pos x="73" y="93"/>
                  </a:cxn>
                  <a:cxn ang="0">
                    <a:pos x="63" y="88"/>
                  </a:cxn>
                  <a:cxn ang="0">
                    <a:pos x="52" y="86"/>
                  </a:cxn>
                  <a:cxn ang="0">
                    <a:pos x="32" y="61"/>
                  </a:cxn>
                  <a:cxn ang="0">
                    <a:pos x="25" y="56"/>
                  </a:cxn>
                  <a:cxn ang="0">
                    <a:pos x="17" y="30"/>
                  </a:cxn>
                  <a:cxn ang="0">
                    <a:pos x="12" y="25"/>
                  </a:cxn>
                  <a:cxn ang="0">
                    <a:pos x="1" y="28"/>
                  </a:cxn>
                  <a:cxn ang="0">
                    <a:pos x="0" y="6"/>
                  </a:cxn>
                </a:cxnLst>
                <a:rect l="0" t="0" r="r" b="b"/>
                <a:pathLst>
                  <a:path w="74" h="94">
                    <a:moveTo>
                      <a:pt x="0" y="6"/>
                    </a:moveTo>
                    <a:lnTo>
                      <a:pt x="5" y="0"/>
                    </a:lnTo>
                    <a:lnTo>
                      <a:pt x="15" y="10"/>
                    </a:lnTo>
                    <a:lnTo>
                      <a:pt x="25" y="25"/>
                    </a:lnTo>
                    <a:lnTo>
                      <a:pt x="38" y="47"/>
                    </a:lnTo>
                    <a:lnTo>
                      <a:pt x="45" y="49"/>
                    </a:lnTo>
                    <a:lnTo>
                      <a:pt x="61" y="66"/>
                    </a:lnTo>
                    <a:lnTo>
                      <a:pt x="68" y="78"/>
                    </a:lnTo>
                    <a:lnTo>
                      <a:pt x="73" y="93"/>
                    </a:lnTo>
                    <a:lnTo>
                      <a:pt x="63" y="88"/>
                    </a:lnTo>
                    <a:lnTo>
                      <a:pt x="52" y="86"/>
                    </a:lnTo>
                    <a:lnTo>
                      <a:pt x="32" y="61"/>
                    </a:lnTo>
                    <a:lnTo>
                      <a:pt x="25" y="56"/>
                    </a:lnTo>
                    <a:lnTo>
                      <a:pt x="17" y="30"/>
                    </a:lnTo>
                    <a:lnTo>
                      <a:pt x="12" y="25"/>
                    </a:lnTo>
                    <a:lnTo>
                      <a:pt x="1" y="2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8" name="Freeform 117"/>
              <p:cNvSpPr>
                <a:spLocks/>
              </p:cNvSpPr>
              <p:nvPr/>
            </p:nvSpPr>
            <p:spPr bwMode="auto">
              <a:xfrm>
                <a:off x="2977685" y="2430553"/>
                <a:ext cx="25850" cy="27917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11"/>
                  </a:cxn>
                  <a:cxn ang="0">
                    <a:pos x="10" y="30"/>
                  </a:cxn>
                  <a:cxn ang="0">
                    <a:pos x="29" y="30"/>
                  </a:cxn>
                  <a:cxn ang="0">
                    <a:pos x="29" y="0"/>
                  </a:cxn>
                  <a:cxn ang="0">
                    <a:pos x="19" y="11"/>
                  </a:cxn>
                  <a:cxn ang="0">
                    <a:pos x="0" y="5"/>
                  </a:cxn>
                </a:cxnLst>
                <a:rect l="0" t="0" r="r" b="b"/>
                <a:pathLst>
                  <a:path w="30" h="31">
                    <a:moveTo>
                      <a:pt x="0" y="5"/>
                    </a:moveTo>
                    <a:lnTo>
                      <a:pt x="0" y="11"/>
                    </a:lnTo>
                    <a:lnTo>
                      <a:pt x="10" y="30"/>
                    </a:lnTo>
                    <a:lnTo>
                      <a:pt x="29" y="30"/>
                    </a:lnTo>
                    <a:lnTo>
                      <a:pt x="29" y="0"/>
                    </a:lnTo>
                    <a:lnTo>
                      <a:pt x="19" y="11"/>
                    </a:lnTo>
                    <a:lnTo>
                      <a:pt x="0" y="5"/>
                    </a:lnTo>
                  </a:path>
                </a:pathLst>
              </a:custGeom>
              <a:solidFill>
                <a:srgbClr val="888888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9" name="Freeform 118"/>
              <p:cNvSpPr>
                <a:spLocks/>
              </p:cNvSpPr>
              <p:nvPr/>
            </p:nvSpPr>
            <p:spPr bwMode="auto">
              <a:xfrm>
                <a:off x="3016460" y="3411266"/>
                <a:ext cx="92199" cy="142289"/>
              </a:xfrm>
              <a:custGeom>
                <a:avLst/>
                <a:gdLst/>
                <a:ahLst/>
                <a:cxnLst>
                  <a:cxn ang="0">
                    <a:pos x="41" y="145"/>
                  </a:cxn>
                  <a:cxn ang="0">
                    <a:pos x="36" y="135"/>
                  </a:cxn>
                  <a:cxn ang="0">
                    <a:pos x="43" y="118"/>
                  </a:cxn>
                  <a:cxn ang="0">
                    <a:pos x="56" y="122"/>
                  </a:cxn>
                  <a:cxn ang="0">
                    <a:pos x="65" y="107"/>
                  </a:cxn>
                  <a:cxn ang="0">
                    <a:pos x="59" y="94"/>
                  </a:cxn>
                  <a:cxn ang="0">
                    <a:pos x="50" y="94"/>
                  </a:cxn>
                  <a:cxn ang="0">
                    <a:pos x="43" y="97"/>
                  </a:cxn>
                  <a:cxn ang="0">
                    <a:pos x="54" y="100"/>
                  </a:cxn>
                  <a:cxn ang="0">
                    <a:pos x="58" y="108"/>
                  </a:cxn>
                  <a:cxn ang="0">
                    <a:pos x="41" y="108"/>
                  </a:cxn>
                  <a:cxn ang="0">
                    <a:pos x="32" y="125"/>
                  </a:cxn>
                  <a:cxn ang="0">
                    <a:pos x="25" y="157"/>
                  </a:cxn>
                  <a:cxn ang="0">
                    <a:pos x="13" y="157"/>
                  </a:cxn>
                  <a:cxn ang="0">
                    <a:pos x="6" y="154"/>
                  </a:cxn>
                  <a:cxn ang="0">
                    <a:pos x="0" y="135"/>
                  </a:cxn>
                  <a:cxn ang="0">
                    <a:pos x="6" y="125"/>
                  </a:cxn>
                  <a:cxn ang="0">
                    <a:pos x="10" y="114"/>
                  </a:cxn>
                  <a:cxn ang="0">
                    <a:pos x="10" y="107"/>
                  </a:cxn>
                  <a:cxn ang="0">
                    <a:pos x="3" y="100"/>
                  </a:cxn>
                  <a:cxn ang="0">
                    <a:pos x="18" y="81"/>
                  </a:cxn>
                  <a:cxn ang="0">
                    <a:pos x="13" y="68"/>
                  </a:cxn>
                  <a:cxn ang="0">
                    <a:pos x="19" y="43"/>
                  </a:cxn>
                  <a:cxn ang="0">
                    <a:pos x="41" y="15"/>
                  </a:cxn>
                  <a:cxn ang="0">
                    <a:pos x="45" y="0"/>
                  </a:cxn>
                  <a:cxn ang="0">
                    <a:pos x="54" y="0"/>
                  </a:cxn>
                  <a:cxn ang="0">
                    <a:pos x="54" y="13"/>
                  </a:cxn>
                  <a:cxn ang="0">
                    <a:pos x="56" y="23"/>
                  </a:cxn>
                  <a:cxn ang="0">
                    <a:pos x="71" y="35"/>
                  </a:cxn>
                  <a:cxn ang="0">
                    <a:pos x="65" y="48"/>
                  </a:cxn>
                  <a:cxn ang="0">
                    <a:pos x="65" y="63"/>
                  </a:cxn>
                  <a:cxn ang="0">
                    <a:pos x="71" y="77"/>
                  </a:cxn>
                  <a:cxn ang="0">
                    <a:pos x="65" y="83"/>
                  </a:cxn>
                  <a:cxn ang="0">
                    <a:pos x="65" y="92"/>
                  </a:cxn>
                  <a:cxn ang="0">
                    <a:pos x="74" y="94"/>
                  </a:cxn>
                  <a:cxn ang="0">
                    <a:pos x="94" y="100"/>
                  </a:cxn>
                  <a:cxn ang="0">
                    <a:pos x="106" y="107"/>
                  </a:cxn>
                  <a:cxn ang="0">
                    <a:pos x="91" y="114"/>
                  </a:cxn>
                  <a:cxn ang="0">
                    <a:pos x="68" y="127"/>
                  </a:cxn>
                  <a:cxn ang="0">
                    <a:pos x="54" y="138"/>
                  </a:cxn>
                  <a:cxn ang="0">
                    <a:pos x="50" y="147"/>
                  </a:cxn>
                  <a:cxn ang="0">
                    <a:pos x="41" y="145"/>
                  </a:cxn>
                </a:cxnLst>
                <a:rect l="0" t="0" r="r" b="b"/>
                <a:pathLst>
                  <a:path w="107" h="158">
                    <a:moveTo>
                      <a:pt x="41" y="145"/>
                    </a:moveTo>
                    <a:lnTo>
                      <a:pt x="36" y="135"/>
                    </a:lnTo>
                    <a:lnTo>
                      <a:pt x="43" y="118"/>
                    </a:lnTo>
                    <a:lnTo>
                      <a:pt x="56" y="122"/>
                    </a:lnTo>
                    <a:lnTo>
                      <a:pt x="65" y="107"/>
                    </a:lnTo>
                    <a:lnTo>
                      <a:pt x="59" y="94"/>
                    </a:lnTo>
                    <a:lnTo>
                      <a:pt x="50" y="94"/>
                    </a:lnTo>
                    <a:lnTo>
                      <a:pt x="43" y="97"/>
                    </a:lnTo>
                    <a:lnTo>
                      <a:pt x="54" y="100"/>
                    </a:lnTo>
                    <a:lnTo>
                      <a:pt x="58" y="108"/>
                    </a:lnTo>
                    <a:lnTo>
                      <a:pt x="41" y="108"/>
                    </a:lnTo>
                    <a:lnTo>
                      <a:pt x="32" y="125"/>
                    </a:lnTo>
                    <a:lnTo>
                      <a:pt x="25" y="157"/>
                    </a:lnTo>
                    <a:lnTo>
                      <a:pt x="13" y="157"/>
                    </a:lnTo>
                    <a:lnTo>
                      <a:pt x="6" y="154"/>
                    </a:lnTo>
                    <a:lnTo>
                      <a:pt x="0" y="135"/>
                    </a:lnTo>
                    <a:lnTo>
                      <a:pt x="6" y="125"/>
                    </a:lnTo>
                    <a:lnTo>
                      <a:pt x="10" y="114"/>
                    </a:lnTo>
                    <a:lnTo>
                      <a:pt x="10" y="107"/>
                    </a:lnTo>
                    <a:lnTo>
                      <a:pt x="3" y="100"/>
                    </a:lnTo>
                    <a:lnTo>
                      <a:pt x="18" y="81"/>
                    </a:lnTo>
                    <a:lnTo>
                      <a:pt x="13" y="68"/>
                    </a:lnTo>
                    <a:lnTo>
                      <a:pt x="19" y="43"/>
                    </a:lnTo>
                    <a:lnTo>
                      <a:pt x="41" y="15"/>
                    </a:lnTo>
                    <a:lnTo>
                      <a:pt x="45" y="0"/>
                    </a:lnTo>
                    <a:lnTo>
                      <a:pt x="54" y="0"/>
                    </a:lnTo>
                    <a:lnTo>
                      <a:pt x="54" y="13"/>
                    </a:lnTo>
                    <a:lnTo>
                      <a:pt x="56" y="23"/>
                    </a:lnTo>
                    <a:lnTo>
                      <a:pt x="71" y="35"/>
                    </a:lnTo>
                    <a:lnTo>
                      <a:pt x="65" y="48"/>
                    </a:lnTo>
                    <a:lnTo>
                      <a:pt x="65" y="63"/>
                    </a:lnTo>
                    <a:lnTo>
                      <a:pt x="71" y="77"/>
                    </a:lnTo>
                    <a:lnTo>
                      <a:pt x="65" y="83"/>
                    </a:lnTo>
                    <a:lnTo>
                      <a:pt x="65" y="92"/>
                    </a:lnTo>
                    <a:lnTo>
                      <a:pt x="74" y="94"/>
                    </a:lnTo>
                    <a:lnTo>
                      <a:pt x="94" y="100"/>
                    </a:lnTo>
                    <a:lnTo>
                      <a:pt x="106" y="107"/>
                    </a:lnTo>
                    <a:lnTo>
                      <a:pt x="91" y="114"/>
                    </a:lnTo>
                    <a:lnTo>
                      <a:pt x="68" y="127"/>
                    </a:lnTo>
                    <a:lnTo>
                      <a:pt x="54" y="138"/>
                    </a:lnTo>
                    <a:lnTo>
                      <a:pt x="50" y="147"/>
                    </a:lnTo>
                    <a:lnTo>
                      <a:pt x="41" y="145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20" name="Freeform 119"/>
              <p:cNvSpPr>
                <a:spLocks/>
              </p:cNvSpPr>
              <p:nvPr/>
            </p:nvSpPr>
            <p:spPr bwMode="auto">
              <a:xfrm>
                <a:off x="3070746" y="3190629"/>
                <a:ext cx="776372" cy="568256"/>
              </a:xfrm>
              <a:custGeom>
                <a:avLst/>
                <a:gdLst/>
                <a:ahLst/>
                <a:cxnLst>
                  <a:cxn ang="0">
                    <a:pos x="43" y="43"/>
                  </a:cxn>
                  <a:cxn ang="0">
                    <a:pos x="30" y="3"/>
                  </a:cxn>
                  <a:cxn ang="0">
                    <a:pos x="311" y="3"/>
                  </a:cxn>
                  <a:cxn ang="0">
                    <a:pos x="870" y="27"/>
                  </a:cxn>
                  <a:cxn ang="0">
                    <a:pos x="886" y="55"/>
                  </a:cxn>
                  <a:cxn ang="0">
                    <a:pos x="881" y="75"/>
                  </a:cxn>
                  <a:cxn ang="0">
                    <a:pos x="855" y="101"/>
                  </a:cxn>
                  <a:cxn ang="0">
                    <a:pos x="861" y="141"/>
                  </a:cxn>
                  <a:cxn ang="0">
                    <a:pos x="859" y="172"/>
                  </a:cxn>
                  <a:cxn ang="0">
                    <a:pos x="828" y="191"/>
                  </a:cxn>
                  <a:cxn ang="0">
                    <a:pos x="786" y="208"/>
                  </a:cxn>
                  <a:cxn ang="0">
                    <a:pos x="766" y="234"/>
                  </a:cxn>
                  <a:cxn ang="0">
                    <a:pos x="743" y="261"/>
                  </a:cxn>
                  <a:cxn ang="0">
                    <a:pos x="713" y="286"/>
                  </a:cxn>
                  <a:cxn ang="0">
                    <a:pos x="688" y="310"/>
                  </a:cxn>
                  <a:cxn ang="0">
                    <a:pos x="665" y="334"/>
                  </a:cxn>
                  <a:cxn ang="0">
                    <a:pos x="651" y="367"/>
                  </a:cxn>
                  <a:cxn ang="0">
                    <a:pos x="656" y="405"/>
                  </a:cxn>
                  <a:cxn ang="0">
                    <a:pos x="658" y="447"/>
                  </a:cxn>
                  <a:cxn ang="0">
                    <a:pos x="696" y="449"/>
                  </a:cxn>
                  <a:cxn ang="0">
                    <a:pos x="721" y="471"/>
                  </a:cxn>
                  <a:cxn ang="0">
                    <a:pos x="699" y="499"/>
                  </a:cxn>
                  <a:cxn ang="0">
                    <a:pos x="736" y="527"/>
                  </a:cxn>
                  <a:cxn ang="0">
                    <a:pos x="739" y="565"/>
                  </a:cxn>
                  <a:cxn ang="0">
                    <a:pos x="718" y="589"/>
                  </a:cxn>
                  <a:cxn ang="0">
                    <a:pos x="674" y="596"/>
                  </a:cxn>
                  <a:cxn ang="0">
                    <a:pos x="686" y="623"/>
                  </a:cxn>
                  <a:cxn ang="0">
                    <a:pos x="665" y="625"/>
                  </a:cxn>
                  <a:cxn ang="0">
                    <a:pos x="623" y="609"/>
                  </a:cxn>
                  <a:cxn ang="0">
                    <a:pos x="581" y="595"/>
                  </a:cxn>
                  <a:cxn ang="0">
                    <a:pos x="549" y="596"/>
                  </a:cxn>
                  <a:cxn ang="0">
                    <a:pos x="501" y="563"/>
                  </a:cxn>
                  <a:cxn ang="0">
                    <a:pos x="462" y="565"/>
                  </a:cxn>
                  <a:cxn ang="0">
                    <a:pos x="419" y="547"/>
                  </a:cxn>
                  <a:cxn ang="0">
                    <a:pos x="387" y="571"/>
                  </a:cxn>
                  <a:cxn ang="0">
                    <a:pos x="354" y="565"/>
                  </a:cxn>
                  <a:cxn ang="0">
                    <a:pos x="320" y="576"/>
                  </a:cxn>
                  <a:cxn ang="0">
                    <a:pos x="292" y="556"/>
                  </a:cxn>
                  <a:cxn ang="0">
                    <a:pos x="255" y="543"/>
                  </a:cxn>
                  <a:cxn ang="0">
                    <a:pos x="217" y="526"/>
                  </a:cxn>
                  <a:cxn ang="0">
                    <a:pos x="199" y="487"/>
                  </a:cxn>
                  <a:cxn ang="0">
                    <a:pos x="59" y="467"/>
                  </a:cxn>
                  <a:cxn ang="0">
                    <a:pos x="25" y="403"/>
                  </a:cxn>
                  <a:cxn ang="0">
                    <a:pos x="68" y="375"/>
                  </a:cxn>
                  <a:cxn ang="0">
                    <a:pos x="63" y="334"/>
                  </a:cxn>
                  <a:cxn ang="0">
                    <a:pos x="43" y="296"/>
                  </a:cxn>
                  <a:cxn ang="0">
                    <a:pos x="45" y="266"/>
                  </a:cxn>
                  <a:cxn ang="0">
                    <a:pos x="23" y="223"/>
                  </a:cxn>
                  <a:cxn ang="0">
                    <a:pos x="8" y="176"/>
                  </a:cxn>
                  <a:cxn ang="0">
                    <a:pos x="37" y="171"/>
                  </a:cxn>
                  <a:cxn ang="0">
                    <a:pos x="52" y="144"/>
                  </a:cxn>
                  <a:cxn ang="0">
                    <a:pos x="12" y="117"/>
                  </a:cxn>
                  <a:cxn ang="0">
                    <a:pos x="17" y="82"/>
                  </a:cxn>
                </a:cxnLst>
                <a:rect l="0" t="0" r="r" b="b"/>
                <a:pathLst>
                  <a:path w="901" h="631">
                    <a:moveTo>
                      <a:pt x="25" y="68"/>
                    </a:moveTo>
                    <a:lnTo>
                      <a:pt x="35" y="63"/>
                    </a:lnTo>
                    <a:lnTo>
                      <a:pt x="40" y="52"/>
                    </a:lnTo>
                    <a:lnTo>
                      <a:pt x="43" y="43"/>
                    </a:lnTo>
                    <a:lnTo>
                      <a:pt x="40" y="35"/>
                    </a:lnTo>
                    <a:lnTo>
                      <a:pt x="37" y="23"/>
                    </a:lnTo>
                    <a:lnTo>
                      <a:pt x="37" y="13"/>
                    </a:lnTo>
                    <a:lnTo>
                      <a:pt x="30" y="3"/>
                    </a:lnTo>
                    <a:lnTo>
                      <a:pt x="119" y="0"/>
                    </a:lnTo>
                    <a:lnTo>
                      <a:pt x="162" y="0"/>
                    </a:lnTo>
                    <a:lnTo>
                      <a:pt x="292" y="3"/>
                    </a:lnTo>
                    <a:lnTo>
                      <a:pt x="311" y="3"/>
                    </a:lnTo>
                    <a:lnTo>
                      <a:pt x="561" y="3"/>
                    </a:lnTo>
                    <a:lnTo>
                      <a:pt x="865" y="5"/>
                    </a:lnTo>
                    <a:lnTo>
                      <a:pt x="870" y="13"/>
                    </a:lnTo>
                    <a:lnTo>
                      <a:pt x="870" y="27"/>
                    </a:lnTo>
                    <a:lnTo>
                      <a:pt x="881" y="27"/>
                    </a:lnTo>
                    <a:lnTo>
                      <a:pt x="886" y="35"/>
                    </a:lnTo>
                    <a:lnTo>
                      <a:pt x="888" y="43"/>
                    </a:lnTo>
                    <a:lnTo>
                      <a:pt x="886" y="55"/>
                    </a:lnTo>
                    <a:lnTo>
                      <a:pt x="892" y="59"/>
                    </a:lnTo>
                    <a:lnTo>
                      <a:pt x="900" y="67"/>
                    </a:lnTo>
                    <a:lnTo>
                      <a:pt x="888" y="75"/>
                    </a:lnTo>
                    <a:lnTo>
                      <a:pt x="881" y="75"/>
                    </a:lnTo>
                    <a:lnTo>
                      <a:pt x="877" y="82"/>
                    </a:lnTo>
                    <a:lnTo>
                      <a:pt x="872" y="87"/>
                    </a:lnTo>
                    <a:lnTo>
                      <a:pt x="861" y="90"/>
                    </a:lnTo>
                    <a:lnTo>
                      <a:pt x="855" y="101"/>
                    </a:lnTo>
                    <a:lnTo>
                      <a:pt x="859" y="115"/>
                    </a:lnTo>
                    <a:lnTo>
                      <a:pt x="853" y="124"/>
                    </a:lnTo>
                    <a:lnTo>
                      <a:pt x="859" y="132"/>
                    </a:lnTo>
                    <a:lnTo>
                      <a:pt x="861" y="141"/>
                    </a:lnTo>
                    <a:lnTo>
                      <a:pt x="865" y="150"/>
                    </a:lnTo>
                    <a:lnTo>
                      <a:pt x="865" y="161"/>
                    </a:lnTo>
                    <a:lnTo>
                      <a:pt x="866" y="171"/>
                    </a:lnTo>
                    <a:lnTo>
                      <a:pt x="859" y="172"/>
                    </a:lnTo>
                    <a:lnTo>
                      <a:pt x="848" y="172"/>
                    </a:lnTo>
                    <a:lnTo>
                      <a:pt x="835" y="172"/>
                    </a:lnTo>
                    <a:lnTo>
                      <a:pt x="828" y="183"/>
                    </a:lnTo>
                    <a:lnTo>
                      <a:pt x="828" y="191"/>
                    </a:lnTo>
                    <a:lnTo>
                      <a:pt x="821" y="196"/>
                    </a:lnTo>
                    <a:lnTo>
                      <a:pt x="805" y="196"/>
                    </a:lnTo>
                    <a:lnTo>
                      <a:pt x="790" y="196"/>
                    </a:lnTo>
                    <a:lnTo>
                      <a:pt x="786" y="208"/>
                    </a:lnTo>
                    <a:lnTo>
                      <a:pt x="785" y="216"/>
                    </a:lnTo>
                    <a:lnTo>
                      <a:pt x="781" y="225"/>
                    </a:lnTo>
                    <a:lnTo>
                      <a:pt x="770" y="228"/>
                    </a:lnTo>
                    <a:lnTo>
                      <a:pt x="766" y="234"/>
                    </a:lnTo>
                    <a:lnTo>
                      <a:pt x="759" y="238"/>
                    </a:lnTo>
                    <a:lnTo>
                      <a:pt x="754" y="243"/>
                    </a:lnTo>
                    <a:lnTo>
                      <a:pt x="748" y="254"/>
                    </a:lnTo>
                    <a:lnTo>
                      <a:pt x="743" y="261"/>
                    </a:lnTo>
                    <a:lnTo>
                      <a:pt x="738" y="276"/>
                    </a:lnTo>
                    <a:lnTo>
                      <a:pt x="725" y="278"/>
                    </a:lnTo>
                    <a:lnTo>
                      <a:pt x="718" y="280"/>
                    </a:lnTo>
                    <a:lnTo>
                      <a:pt x="713" y="286"/>
                    </a:lnTo>
                    <a:lnTo>
                      <a:pt x="703" y="286"/>
                    </a:lnTo>
                    <a:lnTo>
                      <a:pt x="696" y="296"/>
                    </a:lnTo>
                    <a:lnTo>
                      <a:pt x="694" y="301"/>
                    </a:lnTo>
                    <a:lnTo>
                      <a:pt x="688" y="310"/>
                    </a:lnTo>
                    <a:lnTo>
                      <a:pt x="683" y="316"/>
                    </a:lnTo>
                    <a:lnTo>
                      <a:pt x="671" y="321"/>
                    </a:lnTo>
                    <a:lnTo>
                      <a:pt x="661" y="327"/>
                    </a:lnTo>
                    <a:lnTo>
                      <a:pt x="665" y="334"/>
                    </a:lnTo>
                    <a:lnTo>
                      <a:pt x="659" y="345"/>
                    </a:lnTo>
                    <a:lnTo>
                      <a:pt x="659" y="354"/>
                    </a:lnTo>
                    <a:lnTo>
                      <a:pt x="651" y="360"/>
                    </a:lnTo>
                    <a:lnTo>
                      <a:pt x="651" y="367"/>
                    </a:lnTo>
                    <a:lnTo>
                      <a:pt x="643" y="370"/>
                    </a:lnTo>
                    <a:lnTo>
                      <a:pt x="636" y="385"/>
                    </a:lnTo>
                    <a:lnTo>
                      <a:pt x="649" y="396"/>
                    </a:lnTo>
                    <a:lnTo>
                      <a:pt x="656" y="405"/>
                    </a:lnTo>
                    <a:lnTo>
                      <a:pt x="654" y="417"/>
                    </a:lnTo>
                    <a:lnTo>
                      <a:pt x="649" y="427"/>
                    </a:lnTo>
                    <a:lnTo>
                      <a:pt x="656" y="436"/>
                    </a:lnTo>
                    <a:lnTo>
                      <a:pt x="658" y="447"/>
                    </a:lnTo>
                    <a:lnTo>
                      <a:pt x="668" y="447"/>
                    </a:lnTo>
                    <a:lnTo>
                      <a:pt x="679" y="447"/>
                    </a:lnTo>
                    <a:lnTo>
                      <a:pt x="685" y="449"/>
                    </a:lnTo>
                    <a:lnTo>
                      <a:pt x="696" y="449"/>
                    </a:lnTo>
                    <a:lnTo>
                      <a:pt x="703" y="445"/>
                    </a:lnTo>
                    <a:lnTo>
                      <a:pt x="713" y="452"/>
                    </a:lnTo>
                    <a:lnTo>
                      <a:pt x="718" y="462"/>
                    </a:lnTo>
                    <a:lnTo>
                      <a:pt x="721" y="471"/>
                    </a:lnTo>
                    <a:lnTo>
                      <a:pt x="718" y="478"/>
                    </a:lnTo>
                    <a:lnTo>
                      <a:pt x="713" y="484"/>
                    </a:lnTo>
                    <a:lnTo>
                      <a:pt x="705" y="489"/>
                    </a:lnTo>
                    <a:lnTo>
                      <a:pt x="699" y="499"/>
                    </a:lnTo>
                    <a:lnTo>
                      <a:pt x="713" y="509"/>
                    </a:lnTo>
                    <a:lnTo>
                      <a:pt x="723" y="509"/>
                    </a:lnTo>
                    <a:lnTo>
                      <a:pt x="730" y="516"/>
                    </a:lnTo>
                    <a:lnTo>
                      <a:pt x="736" y="527"/>
                    </a:lnTo>
                    <a:lnTo>
                      <a:pt x="738" y="540"/>
                    </a:lnTo>
                    <a:lnTo>
                      <a:pt x="733" y="547"/>
                    </a:lnTo>
                    <a:lnTo>
                      <a:pt x="733" y="556"/>
                    </a:lnTo>
                    <a:lnTo>
                      <a:pt x="739" y="565"/>
                    </a:lnTo>
                    <a:lnTo>
                      <a:pt x="741" y="576"/>
                    </a:lnTo>
                    <a:lnTo>
                      <a:pt x="736" y="583"/>
                    </a:lnTo>
                    <a:lnTo>
                      <a:pt x="726" y="585"/>
                    </a:lnTo>
                    <a:lnTo>
                      <a:pt x="718" y="589"/>
                    </a:lnTo>
                    <a:lnTo>
                      <a:pt x="705" y="580"/>
                    </a:lnTo>
                    <a:lnTo>
                      <a:pt x="694" y="583"/>
                    </a:lnTo>
                    <a:lnTo>
                      <a:pt x="683" y="585"/>
                    </a:lnTo>
                    <a:lnTo>
                      <a:pt x="674" y="596"/>
                    </a:lnTo>
                    <a:lnTo>
                      <a:pt x="671" y="603"/>
                    </a:lnTo>
                    <a:lnTo>
                      <a:pt x="674" y="615"/>
                    </a:lnTo>
                    <a:lnTo>
                      <a:pt x="679" y="623"/>
                    </a:lnTo>
                    <a:lnTo>
                      <a:pt x="686" y="623"/>
                    </a:lnTo>
                    <a:lnTo>
                      <a:pt x="688" y="630"/>
                    </a:lnTo>
                    <a:lnTo>
                      <a:pt x="679" y="625"/>
                    </a:lnTo>
                    <a:lnTo>
                      <a:pt x="671" y="625"/>
                    </a:lnTo>
                    <a:lnTo>
                      <a:pt x="665" y="625"/>
                    </a:lnTo>
                    <a:lnTo>
                      <a:pt x="646" y="630"/>
                    </a:lnTo>
                    <a:lnTo>
                      <a:pt x="638" y="625"/>
                    </a:lnTo>
                    <a:lnTo>
                      <a:pt x="626" y="618"/>
                    </a:lnTo>
                    <a:lnTo>
                      <a:pt x="623" y="609"/>
                    </a:lnTo>
                    <a:lnTo>
                      <a:pt x="614" y="603"/>
                    </a:lnTo>
                    <a:lnTo>
                      <a:pt x="607" y="600"/>
                    </a:lnTo>
                    <a:lnTo>
                      <a:pt x="594" y="595"/>
                    </a:lnTo>
                    <a:lnTo>
                      <a:pt x="581" y="595"/>
                    </a:lnTo>
                    <a:lnTo>
                      <a:pt x="574" y="595"/>
                    </a:lnTo>
                    <a:lnTo>
                      <a:pt x="567" y="596"/>
                    </a:lnTo>
                    <a:lnTo>
                      <a:pt x="558" y="596"/>
                    </a:lnTo>
                    <a:lnTo>
                      <a:pt x="549" y="596"/>
                    </a:lnTo>
                    <a:lnTo>
                      <a:pt x="541" y="589"/>
                    </a:lnTo>
                    <a:lnTo>
                      <a:pt x="536" y="580"/>
                    </a:lnTo>
                    <a:lnTo>
                      <a:pt x="529" y="574"/>
                    </a:lnTo>
                    <a:lnTo>
                      <a:pt x="501" y="563"/>
                    </a:lnTo>
                    <a:lnTo>
                      <a:pt x="492" y="565"/>
                    </a:lnTo>
                    <a:lnTo>
                      <a:pt x="487" y="571"/>
                    </a:lnTo>
                    <a:lnTo>
                      <a:pt x="472" y="568"/>
                    </a:lnTo>
                    <a:lnTo>
                      <a:pt x="462" y="565"/>
                    </a:lnTo>
                    <a:lnTo>
                      <a:pt x="447" y="556"/>
                    </a:lnTo>
                    <a:lnTo>
                      <a:pt x="432" y="554"/>
                    </a:lnTo>
                    <a:lnTo>
                      <a:pt x="427" y="554"/>
                    </a:lnTo>
                    <a:lnTo>
                      <a:pt x="419" y="547"/>
                    </a:lnTo>
                    <a:lnTo>
                      <a:pt x="409" y="551"/>
                    </a:lnTo>
                    <a:lnTo>
                      <a:pt x="402" y="560"/>
                    </a:lnTo>
                    <a:lnTo>
                      <a:pt x="392" y="565"/>
                    </a:lnTo>
                    <a:lnTo>
                      <a:pt x="387" y="571"/>
                    </a:lnTo>
                    <a:lnTo>
                      <a:pt x="377" y="574"/>
                    </a:lnTo>
                    <a:lnTo>
                      <a:pt x="371" y="571"/>
                    </a:lnTo>
                    <a:lnTo>
                      <a:pt x="364" y="568"/>
                    </a:lnTo>
                    <a:lnTo>
                      <a:pt x="354" y="565"/>
                    </a:lnTo>
                    <a:lnTo>
                      <a:pt x="344" y="563"/>
                    </a:lnTo>
                    <a:lnTo>
                      <a:pt x="335" y="568"/>
                    </a:lnTo>
                    <a:lnTo>
                      <a:pt x="327" y="568"/>
                    </a:lnTo>
                    <a:lnTo>
                      <a:pt x="320" y="576"/>
                    </a:lnTo>
                    <a:lnTo>
                      <a:pt x="311" y="574"/>
                    </a:lnTo>
                    <a:lnTo>
                      <a:pt x="307" y="563"/>
                    </a:lnTo>
                    <a:lnTo>
                      <a:pt x="299" y="563"/>
                    </a:lnTo>
                    <a:lnTo>
                      <a:pt x="292" y="556"/>
                    </a:lnTo>
                    <a:lnTo>
                      <a:pt x="285" y="556"/>
                    </a:lnTo>
                    <a:lnTo>
                      <a:pt x="280" y="547"/>
                    </a:lnTo>
                    <a:lnTo>
                      <a:pt x="267" y="543"/>
                    </a:lnTo>
                    <a:lnTo>
                      <a:pt x="255" y="543"/>
                    </a:lnTo>
                    <a:lnTo>
                      <a:pt x="244" y="547"/>
                    </a:lnTo>
                    <a:lnTo>
                      <a:pt x="239" y="540"/>
                    </a:lnTo>
                    <a:lnTo>
                      <a:pt x="224" y="531"/>
                    </a:lnTo>
                    <a:lnTo>
                      <a:pt x="217" y="526"/>
                    </a:lnTo>
                    <a:lnTo>
                      <a:pt x="212" y="516"/>
                    </a:lnTo>
                    <a:lnTo>
                      <a:pt x="204" y="507"/>
                    </a:lnTo>
                    <a:lnTo>
                      <a:pt x="202" y="499"/>
                    </a:lnTo>
                    <a:lnTo>
                      <a:pt x="199" y="487"/>
                    </a:lnTo>
                    <a:lnTo>
                      <a:pt x="187" y="478"/>
                    </a:lnTo>
                    <a:lnTo>
                      <a:pt x="179" y="471"/>
                    </a:lnTo>
                    <a:lnTo>
                      <a:pt x="90" y="471"/>
                    </a:lnTo>
                    <a:lnTo>
                      <a:pt x="59" y="467"/>
                    </a:lnTo>
                    <a:lnTo>
                      <a:pt x="32" y="436"/>
                    </a:lnTo>
                    <a:lnTo>
                      <a:pt x="12" y="414"/>
                    </a:lnTo>
                    <a:lnTo>
                      <a:pt x="15" y="405"/>
                    </a:lnTo>
                    <a:lnTo>
                      <a:pt x="25" y="403"/>
                    </a:lnTo>
                    <a:lnTo>
                      <a:pt x="33" y="400"/>
                    </a:lnTo>
                    <a:lnTo>
                      <a:pt x="55" y="390"/>
                    </a:lnTo>
                    <a:lnTo>
                      <a:pt x="63" y="389"/>
                    </a:lnTo>
                    <a:lnTo>
                      <a:pt x="68" y="375"/>
                    </a:lnTo>
                    <a:lnTo>
                      <a:pt x="68" y="367"/>
                    </a:lnTo>
                    <a:lnTo>
                      <a:pt x="65" y="354"/>
                    </a:lnTo>
                    <a:lnTo>
                      <a:pt x="65" y="342"/>
                    </a:lnTo>
                    <a:lnTo>
                      <a:pt x="63" y="334"/>
                    </a:lnTo>
                    <a:lnTo>
                      <a:pt x="53" y="327"/>
                    </a:lnTo>
                    <a:lnTo>
                      <a:pt x="50" y="320"/>
                    </a:lnTo>
                    <a:lnTo>
                      <a:pt x="48" y="301"/>
                    </a:lnTo>
                    <a:lnTo>
                      <a:pt x="43" y="296"/>
                    </a:lnTo>
                    <a:lnTo>
                      <a:pt x="32" y="292"/>
                    </a:lnTo>
                    <a:lnTo>
                      <a:pt x="40" y="286"/>
                    </a:lnTo>
                    <a:lnTo>
                      <a:pt x="40" y="276"/>
                    </a:lnTo>
                    <a:lnTo>
                      <a:pt x="45" y="266"/>
                    </a:lnTo>
                    <a:lnTo>
                      <a:pt x="43" y="258"/>
                    </a:lnTo>
                    <a:lnTo>
                      <a:pt x="32" y="248"/>
                    </a:lnTo>
                    <a:lnTo>
                      <a:pt x="19" y="232"/>
                    </a:lnTo>
                    <a:lnTo>
                      <a:pt x="23" y="223"/>
                    </a:lnTo>
                    <a:lnTo>
                      <a:pt x="25" y="214"/>
                    </a:lnTo>
                    <a:lnTo>
                      <a:pt x="23" y="206"/>
                    </a:lnTo>
                    <a:lnTo>
                      <a:pt x="13" y="184"/>
                    </a:lnTo>
                    <a:lnTo>
                      <a:pt x="8" y="176"/>
                    </a:lnTo>
                    <a:lnTo>
                      <a:pt x="17" y="172"/>
                    </a:lnTo>
                    <a:lnTo>
                      <a:pt x="25" y="166"/>
                    </a:lnTo>
                    <a:lnTo>
                      <a:pt x="32" y="161"/>
                    </a:lnTo>
                    <a:lnTo>
                      <a:pt x="37" y="171"/>
                    </a:lnTo>
                    <a:lnTo>
                      <a:pt x="46" y="171"/>
                    </a:lnTo>
                    <a:lnTo>
                      <a:pt x="53" y="166"/>
                    </a:lnTo>
                    <a:lnTo>
                      <a:pt x="60" y="157"/>
                    </a:lnTo>
                    <a:lnTo>
                      <a:pt x="52" y="144"/>
                    </a:lnTo>
                    <a:lnTo>
                      <a:pt x="43" y="136"/>
                    </a:lnTo>
                    <a:lnTo>
                      <a:pt x="33" y="132"/>
                    </a:lnTo>
                    <a:lnTo>
                      <a:pt x="17" y="127"/>
                    </a:lnTo>
                    <a:lnTo>
                      <a:pt x="12" y="117"/>
                    </a:lnTo>
                    <a:lnTo>
                      <a:pt x="6" y="107"/>
                    </a:lnTo>
                    <a:lnTo>
                      <a:pt x="0" y="101"/>
                    </a:lnTo>
                    <a:lnTo>
                      <a:pt x="12" y="95"/>
                    </a:lnTo>
                    <a:lnTo>
                      <a:pt x="17" y="82"/>
                    </a:lnTo>
                    <a:lnTo>
                      <a:pt x="19" y="72"/>
                    </a:lnTo>
                    <a:lnTo>
                      <a:pt x="25" y="68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21" name="Freeform 120"/>
              <p:cNvSpPr>
                <a:spLocks/>
              </p:cNvSpPr>
              <p:nvPr/>
            </p:nvSpPr>
            <p:spPr bwMode="auto">
              <a:xfrm>
                <a:off x="2801902" y="3557158"/>
                <a:ext cx="48254" cy="112571"/>
              </a:xfrm>
              <a:custGeom>
                <a:avLst/>
                <a:gdLst/>
                <a:ahLst/>
                <a:cxnLst>
                  <a:cxn ang="0">
                    <a:pos x="23" y="87"/>
                  </a:cxn>
                  <a:cxn ang="0">
                    <a:pos x="8" y="69"/>
                  </a:cxn>
                  <a:cxn ang="0">
                    <a:pos x="0" y="62"/>
                  </a:cxn>
                  <a:cxn ang="0">
                    <a:pos x="0" y="50"/>
                  </a:cxn>
                  <a:cxn ang="0">
                    <a:pos x="5" y="43"/>
                  </a:cxn>
                  <a:cxn ang="0">
                    <a:pos x="8" y="18"/>
                  </a:cxn>
                  <a:cxn ang="0">
                    <a:pos x="32" y="8"/>
                  </a:cxn>
                  <a:cxn ang="0">
                    <a:pos x="52" y="0"/>
                  </a:cxn>
                  <a:cxn ang="0">
                    <a:pos x="35" y="18"/>
                  </a:cxn>
                  <a:cxn ang="0">
                    <a:pos x="38" y="27"/>
                  </a:cxn>
                  <a:cxn ang="0">
                    <a:pos x="35" y="47"/>
                  </a:cxn>
                  <a:cxn ang="0">
                    <a:pos x="38" y="55"/>
                  </a:cxn>
                  <a:cxn ang="0">
                    <a:pos x="47" y="62"/>
                  </a:cxn>
                  <a:cxn ang="0">
                    <a:pos x="55" y="94"/>
                  </a:cxn>
                  <a:cxn ang="0">
                    <a:pos x="45" y="102"/>
                  </a:cxn>
                  <a:cxn ang="0">
                    <a:pos x="43" y="114"/>
                  </a:cxn>
                  <a:cxn ang="0">
                    <a:pos x="28" y="124"/>
                  </a:cxn>
                  <a:cxn ang="0">
                    <a:pos x="28" y="112"/>
                  </a:cxn>
                  <a:cxn ang="0">
                    <a:pos x="25" y="102"/>
                  </a:cxn>
                  <a:cxn ang="0">
                    <a:pos x="23" y="87"/>
                  </a:cxn>
                </a:cxnLst>
                <a:rect l="0" t="0" r="r" b="b"/>
                <a:pathLst>
                  <a:path w="56" h="125">
                    <a:moveTo>
                      <a:pt x="23" y="87"/>
                    </a:moveTo>
                    <a:lnTo>
                      <a:pt x="8" y="69"/>
                    </a:lnTo>
                    <a:lnTo>
                      <a:pt x="0" y="62"/>
                    </a:lnTo>
                    <a:lnTo>
                      <a:pt x="0" y="50"/>
                    </a:lnTo>
                    <a:lnTo>
                      <a:pt x="5" y="43"/>
                    </a:lnTo>
                    <a:lnTo>
                      <a:pt x="8" y="18"/>
                    </a:lnTo>
                    <a:lnTo>
                      <a:pt x="32" y="8"/>
                    </a:lnTo>
                    <a:lnTo>
                      <a:pt x="52" y="0"/>
                    </a:lnTo>
                    <a:lnTo>
                      <a:pt x="35" y="18"/>
                    </a:lnTo>
                    <a:lnTo>
                      <a:pt x="38" y="27"/>
                    </a:lnTo>
                    <a:lnTo>
                      <a:pt x="35" y="47"/>
                    </a:lnTo>
                    <a:lnTo>
                      <a:pt x="38" y="55"/>
                    </a:lnTo>
                    <a:lnTo>
                      <a:pt x="47" y="62"/>
                    </a:lnTo>
                    <a:lnTo>
                      <a:pt x="55" y="94"/>
                    </a:lnTo>
                    <a:lnTo>
                      <a:pt x="45" y="102"/>
                    </a:lnTo>
                    <a:lnTo>
                      <a:pt x="43" y="114"/>
                    </a:lnTo>
                    <a:lnTo>
                      <a:pt x="28" y="124"/>
                    </a:lnTo>
                    <a:lnTo>
                      <a:pt x="28" y="112"/>
                    </a:lnTo>
                    <a:lnTo>
                      <a:pt x="25" y="102"/>
                    </a:lnTo>
                    <a:lnTo>
                      <a:pt x="23" y="87"/>
                    </a:lnTo>
                  </a:path>
                </a:pathLst>
              </a:custGeom>
              <a:solidFill>
                <a:srgbClr val="F3D17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22" name="Freeform 121"/>
              <p:cNvSpPr>
                <a:spLocks/>
              </p:cNvSpPr>
              <p:nvPr/>
            </p:nvSpPr>
            <p:spPr bwMode="auto">
              <a:xfrm>
                <a:off x="2452061" y="3306801"/>
                <a:ext cx="410160" cy="432271"/>
              </a:xfrm>
              <a:custGeom>
                <a:avLst/>
                <a:gdLst/>
                <a:ahLst/>
                <a:cxnLst>
                  <a:cxn ang="0">
                    <a:pos x="383" y="302"/>
                  </a:cxn>
                  <a:cxn ang="0">
                    <a:pos x="381" y="332"/>
                  </a:cxn>
                  <a:cxn ang="0">
                    <a:pos x="373" y="360"/>
                  </a:cxn>
                  <a:cxn ang="0">
                    <a:pos x="373" y="377"/>
                  </a:cxn>
                  <a:cxn ang="0">
                    <a:pos x="350" y="405"/>
                  </a:cxn>
                  <a:cxn ang="0">
                    <a:pos x="325" y="417"/>
                  </a:cxn>
                  <a:cxn ang="0">
                    <a:pos x="320" y="437"/>
                  </a:cxn>
                  <a:cxn ang="0">
                    <a:pos x="285" y="447"/>
                  </a:cxn>
                  <a:cxn ang="0">
                    <a:pos x="280" y="464"/>
                  </a:cxn>
                  <a:cxn ang="0">
                    <a:pos x="195" y="476"/>
                  </a:cxn>
                  <a:cxn ang="0">
                    <a:pos x="85" y="472"/>
                  </a:cxn>
                  <a:cxn ang="0">
                    <a:pos x="8" y="314"/>
                  </a:cxn>
                  <a:cxn ang="0">
                    <a:pos x="8" y="81"/>
                  </a:cxn>
                  <a:cxn ang="0">
                    <a:pos x="28" y="0"/>
                  </a:cxn>
                  <a:cxn ang="0">
                    <a:pos x="345" y="28"/>
                  </a:cxn>
                  <a:cxn ang="0">
                    <a:pos x="315" y="57"/>
                  </a:cxn>
                  <a:cxn ang="0">
                    <a:pos x="308" y="83"/>
                  </a:cxn>
                  <a:cxn ang="0">
                    <a:pos x="301" y="101"/>
                  </a:cxn>
                  <a:cxn ang="0">
                    <a:pos x="285" y="127"/>
                  </a:cxn>
                  <a:cxn ang="0">
                    <a:pos x="260" y="174"/>
                  </a:cxn>
                  <a:cxn ang="0">
                    <a:pos x="247" y="197"/>
                  </a:cxn>
                  <a:cxn ang="0">
                    <a:pos x="238" y="222"/>
                  </a:cxn>
                  <a:cxn ang="0">
                    <a:pos x="240" y="243"/>
                  </a:cxn>
                  <a:cxn ang="0">
                    <a:pos x="265" y="237"/>
                  </a:cxn>
                  <a:cxn ang="0">
                    <a:pos x="292" y="242"/>
                  </a:cxn>
                  <a:cxn ang="0">
                    <a:pos x="315" y="242"/>
                  </a:cxn>
                  <a:cxn ang="0">
                    <a:pos x="340" y="227"/>
                  </a:cxn>
                  <a:cxn ang="0">
                    <a:pos x="372" y="214"/>
                  </a:cxn>
                  <a:cxn ang="0">
                    <a:pos x="387" y="208"/>
                  </a:cxn>
                  <a:cxn ang="0">
                    <a:pos x="408" y="197"/>
                  </a:cxn>
                  <a:cxn ang="0">
                    <a:pos x="438" y="175"/>
                  </a:cxn>
                  <a:cxn ang="0">
                    <a:pos x="420" y="174"/>
                  </a:cxn>
                  <a:cxn ang="0">
                    <a:pos x="403" y="185"/>
                  </a:cxn>
                  <a:cxn ang="0">
                    <a:pos x="345" y="208"/>
                  </a:cxn>
                  <a:cxn ang="0">
                    <a:pos x="323" y="228"/>
                  </a:cxn>
                  <a:cxn ang="0">
                    <a:pos x="293" y="223"/>
                  </a:cxn>
                  <a:cxn ang="0">
                    <a:pos x="260" y="214"/>
                  </a:cxn>
                  <a:cxn ang="0">
                    <a:pos x="263" y="190"/>
                  </a:cxn>
                  <a:cxn ang="0">
                    <a:pos x="300" y="132"/>
                  </a:cxn>
                  <a:cxn ang="0">
                    <a:pos x="321" y="87"/>
                  </a:cxn>
                  <a:cxn ang="0">
                    <a:pos x="475" y="90"/>
                  </a:cxn>
                  <a:cxn ang="0">
                    <a:pos x="468" y="197"/>
                  </a:cxn>
                  <a:cxn ang="0">
                    <a:pos x="458" y="223"/>
                  </a:cxn>
                  <a:cxn ang="0">
                    <a:pos x="460" y="200"/>
                  </a:cxn>
                  <a:cxn ang="0">
                    <a:pos x="453" y="205"/>
                  </a:cxn>
                  <a:cxn ang="0">
                    <a:pos x="452" y="228"/>
                  </a:cxn>
                  <a:cxn ang="0">
                    <a:pos x="447" y="257"/>
                  </a:cxn>
                  <a:cxn ang="0">
                    <a:pos x="432" y="282"/>
                  </a:cxn>
                  <a:cxn ang="0">
                    <a:pos x="392" y="300"/>
                  </a:cxn>
                </a:cxnLst>
                <a:rect l="0" t="0" r="r" b="b"/>
                <a:pathLst>
                  <a:path w="476" h="480">
                    <a:moveTo>
                      <a:pt x="392" y="300"/>
                    </a:moveTo>
                    <a:lnTo>
                      <a:pt x="383" y="302"/>
                    </a:lnTo>
                    <a:lnTo>
                      <a:pt x="383" y="310"/>
                    </a:lnTo>
                    <a:lnTo>
                      <a:pt x="381" y="332"/>
                    </a:lnTo>
                    <a:lnTo>
                      <a:pt x="375" y="342"/>
                    </a:lnTo>
                    <a:lnTo>
                      <a:pt x="373" y="360"/>
                    </a:lnTo>
                    <a:lnTo>
                      <a:pt x="375" y="370"/>
                    </a:lnTo>
                    <a:lnTo>
                      <a:pt x="373" y="377"/>
                    </a:lnTo>
                    <a:lnTo>
                      <a:pt x="360" y="400"/>
                    </a:lnTo>
                    <a:lnTo>
                      <a:pt x="350" y="405"/>
                    </a:lnTo>
                    <a:lnTo>
                      <a:pt x="341" y="405"/>
                    </a:lnTo>
                    <a:lnTo>
                      <a:pt x="325" y="417"/>
                    </a:lnTo>
                    <a:lnTo>
                      <a:pt x="321" y="427"/>
                    </a:lnTo>
                    <a:lnTo>
                      <a:pt x="320" y="437"/>
                    </a:lnTo>
                    <a:lnTo>
                      <a:pt x="310" y="444"/>
                    </a:lnTo>
                    <a:lnTo>
                      <a:pt x="285" y="447"/>
                    </a:lnTo>
                    <a:lnTo>
                      <a:pt x="275" y="454"/>
                    </a:lnTo>
                    <a:lnTo>
                      <a:pt x="280" y="464"/>
                    </a:lnTo>
                    <a:lnTo>
                      <a:pt x="280" y="479"/>
                    </a:lnTo>
                    <a:lnTo>
                      <a:pt x="195" y="476"/>
                    </a:lnTo>
                    <a:lnTo>
                      <a:pt x="115" y="476"/>
                    </a:lnTo>
                    <a:lnTo>
                      <a:pt x="85" y="472"/>
                    </a:lnTo>
                    <a:lnTo>
                      <a:pt x="5" y="472"/>
                    </a:lnTo>
                    <a:lnTo>
                      <a:pt x="8" y="314"/>
                    </a:lnTo>
                    <a:lnTo>
                      <a:pt x="0" y="314"/>
                    </a:lnTo>
                    <a:lnTo>
                      <a:pt x="8" y="81"/>
                    </a:lnTo>
                    <a:lnTo>
                      <a:pt x="12" y="0"/>
                    </a:lnTo>
                    <a:lnTo>
                      <a:pt x="28" y="0"/>
                    </a:lnTo>
                    <a:lnTo>
                      <a:pt x="348" y="10"/>
                    </a:lnTo>
                    <a:lnTo>
                      <a:pt x="345" y="28"/>
                    </a:lnTo>
                    <a:lnTo>
                      <a:pt x="340" y="37"/>
                    </a:lnTo>
                    <a:lnTo>
                      <a:pt x="315" y="57"/>
                    </a:lnTo>
                    <a:lnTo>
                      <a:pt x="315" y="67"/>
                    </a:lnTo>
                    <a:lnTo>
                      <a:pt x="308" y="83"/>
                    </a:lnTo>
                    <a:lnTo>
                      <a:pt x="308" y="92"/>
                    </a:lnTo>
                    <a:lnTo>
                      <a:pt x="301" y="101"/>
                    </a:lnTo>
                    <a:lnTo>
                      <a:pt x="292" y="110"/>
                    </a:lnTo>
                    <a:lnTo>
                      <a:pt x="285" y="127"/>
                    </a:lnTo>
                    <a:lnTo>
                      <a:pt x="267" y="140"/>
                    </a:lnTo>
                    <a:lnTo>
                      <a:pt x="260" y="174"/>
                    </a:lnTo>
                    <a:lnTo>
                      <a:pt x="248" y="182"/>
                    </a:lnTo>
                    <a:lnTo>
                      <a:pt x="247" y="197"/>
                    </a:lnTo>
                    <a:lnTo>
                      <a:pt x="238" y="212"/>
                    </a:lnTo>
                    <a:lnTo>
                      <a:pt x="238" y="222"/>
                    </a:lnTo>
                    <a:lnTo>
                      <a:pt x="232" y="227"/>
                    </a:lnTo>
                    <a:lnTo>
                      <a:pt x="240" y="243"/>
                    </a:lnTo>
                    <a:lnTo>
                      <a:pt x="260" y="252"/>
                    </a:lnTo>
                    <a:lnTo>
                      <a:pt x="265" y="237"/>
                    </a:lnTo>
                    <a:lnTo>
                      <a:pt x="278" y="234"/>
                    </a:lnTo>
                    <a:lnTo>
                      <a:pt x="292" y="242"/>
                    </a:lnTo>
                    <a:lnTo>
                      <a:pt x="305" y="242"/>
                    </a:lnTo>
                    <a:lnTo>
                      <a:pt x="315" y="242"/>
                    </a:lnTo>
                    <a:lnTo>
                      <a:pt x="323" y="237"/>
                    </a:lnTo>
                    <a:lnTo>
                      <a:pt x="340" y="227"/>
                    </a:lnTo>
                    <a:lnTo>
                      <a:pt x="355" y="222"/>
                    </a:lnTo>
                    <a:lnTo>
                      <a:pt x="372" y="214"/>
                    </a:lnTo>
                    <a:lnTo>
                      <a:pt x="380" y="214"/>
                    </a:lnTo>
                    <a:lnTo>
                      <a:pt x="387" y="208"/>
                    </a:lnTo>
                    <a:lnTo>
                      <a:pt x="403" y="202"/>
                    </a:lnTo>
                    <a:lnTo>
                      <a:pt x="408" y="197"/>
                    </a:lnTo>
                    <a:lnTo>
                      <a:pt x="420" y="188"/>
                    </a:lnTo>
                    <a:lnTo>
                      <a:pt x="438" y="175"/>
                    </a:lnTo>
                    <a:lnTo>
                      <a:pt x="443" y="165"/>
                    </a:lnTo>
                    <a:lnTo>
                      <a:pt x="420" y="174"/>
                    </a:lnTo>
                    <a:lnTo>
                      <a:pt x="408" y="175"/>
                    </a:lnTo>
                    <a:lnTo>
                      <a:pt x="403" y="185"/>
                    </a:lnTo>
                    <a:lnTo>
                      <a:pt x="372" y="200"/>
                    </a:lnTo>
                    <a:lnTo>
                      <a:pt x="345" y="208"/>
                    </a:lnTo>
                    <a:lnTo>
                      <a:pt x="327" y="214"/>
                    </a:lnTo>
                    <a:lnTo>
                      <a:pt x="323" y="228"/>
                    </a:lnTo>
                    <a:lnTo>
                      <a:pt x="310" y="234"/>
                    </a:lnTo>
                    <a:lnTo>
                      <a:pt x="293" y="223"/>
                    </a:lnTo>
                    <a:lnTo>
                      <a:pt x="275" y="222"/>
                    </a:lnTo>
                    <a:lnTo>
                      <a:pt x="260" y="214"/>
                    </a:lnTo>
                    <a:lnTo>
                      <a:pt x="260" y="202"/>
                    </a:lnTo>
                    <a:lnTo>
                      <a:pt x="263" y="190"/>
                    </a:lnTo>
                    <a:lnTo>
                      <a:pt x="287" y="155"/>
                    </a:lnTo>
                    <a:lnTo>
                      <a:pt x="300" y="132"/>
                    </a:lnTo>
                    <a:lnTo>
                      <a:pt x="320" y="112"/>
                    </a:lnTo>
                    <a:lnTo>
                      <a:pt x="321" y="87"/>
                    </a:lnTo>
                    <a:lnTo>
                      <a:pt x="445" y="90"/>
                    </a:lnTo>
                    <a:lnTo>
                      <a:pt x="475" y="90"/>
                    </a:lnTo>
                    <a:lnTo>
                      <a:pt x="470" y="121"/>
                    </a:lnTo>
                    <a:lnTo>
                      <a:pt x="468" y="197"/>
                    </a:lnTo>
                    <a:lnTo>
                      <a:pt x="467" y="232"/>
                    </a:lnTo>
                    <a:lnTo>
                      <a:pt x="458" y="223"/>
                    </a:lnTo>
                    <a:lnTo>
                      <a:pt x="460" y="212"/>
                    </a:lnTo>
                    <a:lnTo>
                      <a:pt x="460" y="200"/>
                    </a:lnTo>
                    <a:lnTo>
                      <a:pt x="456" y="194"/>
                    </a:lnTo>
                    <a:lnTo>
                      <a:pt x="453" y="205"/>
                    </a:lnTo>
                    <a:lnTo>
                      <a:pt x="453" y="214"/>
                    </a:lnTo>
                    <a:lnTo>
                      <a:pt x="452" y="228"/>
                    </a:lnTo>
                    <a:lnTo>
                      <a:pt x="448" y="249"/>
                    </a:lnTo>
                    <a:lnTo>
                      <a:pt x="447" y="257"/>
                    </a:lnTo>
                    <a:lnTo>
                      <a:pt x="440" y="275"/>
                    </a:lnTo>
                    <a:lnTo>
                      <a:pt x="432" y="282"/>
                    </a:lnTo>
                    <a:lnTo>
                      <a:pt x="423" y="290"/>
                    </a:lnTo>
                    <a:lnTo>
                      <a:pt x="392" y="300"/>
                    </a:lnTo>
                  </a:path>
                </a:pathLst>
              </a:custGeom>
              <a:solidFill>
                <a:srgbClr val="999999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eaLnBrk="0" hangingPunct="0">
                  <a:spcBef>
                    <a:spcPts val="200"/>
                  </a:spcBef>
                  <a:defRPr/>
                </a:pPr>
                <a:endPara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20" name="TextBox 19"/>
            <p:cNvSpPr txBox="1"/>
            <p:nvPr/>
          </p:nvSpPr>
          <p:spPr>
            <a:xfrm>
              <a:off x="5607265" y="5180773"/>
              <a:ext cx="2627642" cy="579646"/>
            </a:xfrm>
            <a:prstGeom prst="rect">
              <a:avLst/>
            </a:prstGeom>
            <a:noFill/>
            <a:ln w="12700">
              <a:solidFill>
                <a:schemeClr val="bg1"/>
              </a:solidFill>
            </a:ln>
            <a:effectLst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Washington State Total Population </a:t>
              </a:r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(estimate)</a:t>
              </a:r>
            </a:p>
            <a:p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April 2019: 7,546,410</a:t>
              </a:r>
            </a:p>
            <a:p>
              <a:pPr>
                <a:spcBef>
                  <a:spcPts val="200"/>
                </a:spcBef>
              </a:pPr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Source: </a:t>
              </a: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Office of Financial Management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3375451" y="1458343"/>
              <a:ext cx="704039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Whatcom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225,300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389404" y="1893619"/>
              <a:ext cx="612668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Skagit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129,200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3333065" y="2428065"/>
              <a:ext cx="777777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Snohomish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818,700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127154" y="3008582"/>
              <a:ext cx="938077" cy="553998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Seattle &amp; King</a:t>
              </a:r>
            </a:p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County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2,226,300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2898547" y="3676919"/>
              <a:ext cx="1029449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Tacoma-Pierce*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888,300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2694525" y="4149869"/>
              <a:ext cx="546945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Lewis</a:t>
              </a: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79,480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540665" y="4597887"/>
              <a:ext cx="612668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Cowlitz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108,950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665791" y="5105312"/>
              <a:ext cx="612668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Clark*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488,500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183735" y="4685563"/>
              <a:ext cx="699230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Skamania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12,060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4038600" y="5026568"/>
              <a:ext cx="617477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Klickitat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22,430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2461742" y="2120897"/>
              <a:ext cx="546945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Island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84,820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520085" y="2384490"/>
              <a:ext cx="577402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Clallam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76,010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575921" y="2773299"/>
              <a:ext cx="678391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Jefferson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31,900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587056" y="3185348"/>
              <a:ext cx="554959" cy="553998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Grays</a:t>
              </a: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Harbor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74,160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746342" y="4123896"/>
              <a:ext cx="546945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Pacific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21,640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607814" y="4605462"/>
              <a:ext cx="822661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Wahkiakum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4,190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2349317" y="3750297"/>
              <a:ext cx="678391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Thurston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285,800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2113530" y="3340557"/>
              <a:ext cx="548547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Mason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64,980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248264" y="4318502"/>
              <a:ext cx="612668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Yakima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255,950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270566" y="3514832"/>
              <a:ext cx="567783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Kittitas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46,570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4342256" y="2890319"/>
              <a:ext cx="548547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Chelan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78,420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4982729" y="2909125"/>
              <a:ext cx="612668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Douglas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42,820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4675507" y="2649210"/>
              <a:ext cx="1091966" cy="246221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(Chelan-Douglas)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4966100" y="1773081"/>
              <a:ext cx="744114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Okanogan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42,730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5255739" y="4654588"/>
              <a:ext cx="612668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Benton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201,800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5712968" y="4364979"/>
              <a:ext cx="614271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Franklin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94,680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5246202" y="4210801"/>
              <a:ext cx="1120820" cy="246221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(Benton-Franklin)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5320139" y="3446935"/>
              <a:ext cx="546945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Grant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98,740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6116015" y="1812851"/>
              <a:ext cx="481222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Ferry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7,830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6638956" y="2045266"/>
              <a:ext cx="612668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Stevens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45,570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7139356" y="1725827"/>
              <a:ext cx="546945" cy="553998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Pend</a:t>
              </a: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Oreille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13,740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6205692" y="2938654"/>
              <a:ext cx="562975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Lincoln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10,960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6994989" y="2916285"/>
              <a:ext cx="639919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Spokane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515,250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6159125" y="3634270"/>
              <a:ext cx="548547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Adams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20,150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6919605" y="3643444"/>
              <a:ext cx="683199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Whitman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50,130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6061675" y="4648162"/>
              <a:ext cx="825867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Walla Walla</a:t>
              </a:r>
            </a:p>
            <a:p>
              <a:pPr algn="ctr"/>
              <a:r>
                <a:rPr lang="en-US" sz="1000" b="1" i="1" dirty="0">
                  <a:solidFill>
                    <a:schemeClr val="bg1"/>
                  </a:solidFill>
                  <a:latin typeface="+mn-lt"/>
                </a:rPr>
                <a:t>62,200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6736312" y="4530931"/>
              <a:ext cx="689612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Columbia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4,160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6977314" y="4182258"/>
              <a:ext cx="611065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Garfield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2,220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7318154" y="4564550"/>
              <a:ext cx="546945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>
                <a:spcBef>
                  <a:spcPts val="200"/>
                </a:spcBef>
              </a:pPr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Asotin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22,520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175602" y="1528900"/>
              <a:ext cx="1378904" cy="246221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+mn-lt"/>
                </a:rPr>
                <a:t>(Northeast Tri County)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2082281" y="1500126"/>
              <a:ext cx="647933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San Juan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17,150</a:t>
              </a:r>
            </a:p>
          </p:txBody>
        </p:sp>
        <p:sp>
          <p:nvSpPr>
            <p:cNvPr id="124" name="TextBox 123"/>
            <p:cNvSpPr txBox="1"/>
            <p:nvPr userDrawn="1"/>
          </p:nvSpPr>
          <p:spPr>
            <a:xfrm>
              <a:off x="2987309" y="5803980"/>
              <a:ext cx="261995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partments that have combined public health with human services (16)</a:t>
              </a:r>
            </a:p>
          </p:txBody>
        </p:sp>
        <p:sp>
          <p:nvSpPr>
            <p:cNvPr id="126" name="TextBox 125"/>
            <p:cNvSpPr txBox="1"/>
            <p:nvPr userDrawn="1"/>
          </p:nvSpPr>
          <p:spPr>
            <a:xfrm>
              <a:off x="2980875" y="6255197"/>
              <a:ext cx="149912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Single County District (8)</a:t>
              </a:r>
            </a:p>
          </p:txBody>
        </p:sp>
        <p:sp>
          <p:nvSpPr>
            <p:cNvPr id="128" name="TextBox 127"/>
            <p:cNvSpPr txBox="1"/>
            <p:nvPr userDrawn="1"/>
          </p:nvSpPr>
          <p:spPr>
            <a:xfrm>
              <a:off x="5916470" y="5875055"/>
              <a:ext cx="174118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Public Health Department</a:t>
              </a:r>
              <a:r>
                <a:rPr lang="en-US" sz="1000" b="1" baseline="0" dirty="0">
                  <a:solidFill>
                    <a:schemeClr val="tx1"/>
                  </a:solidFill>
                  <a:latin typeface="+mn-lt"/>
                </a:rPr>
                <a:t> (8)</a:t>
              </a:r>
              <a:endParaRPr lang="en-US" sz="1000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30" name="TextBox 129"/>
            <p:cNvSpPr txBox="1"/>
            <p:nvPr userDrawn="1"/>
          </p:nvSpPr>
          <p:spPr>
            <a:xfrm>
              <a:off x="5916470" y="6247260"/>
              <a:ext cx="147027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Multi County District (3)</a:t>
              </a:r>
            </a:p>
          </p:txBody>
        </p:sp>
        <p:sp>
          <p:nvSpPr>
            <p:cNvPr id="123" name="TextBox 122"/>
            <p:cNvSpPr txBox="1"/>
            <p:nvPr userDrawn="1"/>
          </p:nvSpPr>
          <p:spPr>
            <a:xfrm>
              <a:off x="2505283" y="2852950"/>
              <a:ext cx="612668" cy="400110"/>
            </a:xfrm>
            <a:prstGeom prst="rect">
              <a:avLst/>
            </a:prstGeom>
            <a:noFill/>
            <a:ln w="12700">
              <a:noFill/>
            </a:ln>
            <a:effectLst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/>
                  </a:solidFill>
                  <a:latin typeface="+mn-lt"/>
                </a:rPr>
                <a:t>Kitsap</a:t>
              </a:r>
            </a:p>
            <a:p>
              <a:pPr algn="ctr"/>
              <a:r>
                <a:rPr lang="en-US" sz="1000" b="1" i="1" dirty="0">
                  <a:solidFill>
                    <a:schemeClr val="tx1"/>
                  </a:solidFill>
                  <a:latin typeface="+mn-lt"/>
                </a:rPr>
                <a:t>270,100</a:t>
              </a:r>
            </a:p>
          </p:txBody>
        </p:sp>
        <p:cxnSp>
          <p:nvCxnSpPr>
            <p:cNvPr id="125" name="Straight Connector 124"/>
            <p:cNvCxnSpPr/>
            <p:nvPr userDrawn="1"/>
          </p:nvCxnSpPr>
          <p:spPr>
            <a:xfrm flipV="1">
              <a:off x="4322814" y="1246747"/>
              <a:ext cx="499998" cy="1369"/>
            </a:xfrm>
            <a:prstGeom prst="line">
              <a:avLst/>
            </a:prstGeom>
            <a:ln w="50800">
              <a:solidFill>
                <a:srgbClr val="61A60E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902567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with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-7315" y="-7315"/>
            <a:ext cx="9144000" cy="3431263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214653" y="4903934"/>
            <a:ext cx="6752396" cy="136319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214653" y="3933309"/>
            <a:ext cx="6752396" cy="965200"/>
          </a:xfrm>
        </p:spPr>
        <p:txBody>
          <a:bodyPr anchor="t">
            <a:normAutofit/>
          </a:bodyPr>
          <a:lstStyle>
            <a:lvl1pPr>
              <a:defRPr sz="2200">
                <a:latin typeface="+mn-lt"/>
              </a:defRPr>
            </a:lvl1pPr>
          </a:lstStyle>
          <a:p>
            <a:pPr lvl="0"/>
            <a:r>
              <a:rPr lang="en-US" dirty="0"/>
              <a:t>Text…</a:t>
            </a:r>
          </a:p>
        </p:txBody>
      </p:sp>
    </p:spTree>
    <p:extLst>
      <p:ext uri="{BB962C8B-B14F-4D97-AF65-F5344CB8AC3E}">
        <p14:creationId xmlns:p14="http://schemas.microsoft.com/office/powerpoint/2010/main" val="272045646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with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-7315" y="-7315"/>
            <a:ext cx="9144000" cy="477882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215717" y="5297703"/>
            <a:ext cx="6751332" cy="965200"/>
          </a:xfrm>
        </p:spPr>
        <p:txBody>
          <a:bodyPr anchor="t">
            <a:normAutofit/>
          </a:bodyPr>
          <a:lstStyle>
            <a:lvl1pPr>
              <a:defRPr sz="2200">
                <a:latin typeface="+mn-lt"/>
              </a:defRPr>
            </a:lvl1pPr>
          </a:lstStyle>
          <a:p>
            <a:pPr lvl="0"/>
            <a:r>
              <a:rPr lang="en-US" dirty="0"/>
              <a:t>Text…</a:t>
            </a:r>
          </a:p>
        </p:txBody>
      </p:sp>
    </p:spTree>
    <p:extLst>
      <p:ext uri="{BB962C8B-B14F-4D97-AF65-F5344CB8AC3E}">
        <p14:creationId xmlns:p14="http://schemas.microsoft.com/office/powerpoint/2010/main" val="23476037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with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839585" y="814647"/>
            <a:ext cx="7489768" cy="3773978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585" y="5297703"/>
            <a:ext cx="7489768" cy="965200"/>
          </a:xfrm>
        </p:spPr>
        <p:txBody>
          <a:bodyPr anchor="t">
            <a:normAutofit/>
          </a:bodyPr>
          <a:lstStyle>
            <a:lvl1pPr>
              <a:defRPr sz="2200">
                <a:latin typeface="+mn-lt"/>
              </a:defRPr>
            </a:lvl1pPr>
          </a:lstStyle>
          <a:p>
            <a:pPr lvl="0"/>
            <a:r>
              <a:rPr lang="en-US" dirty="0"/>
              <a:t>Text…</a:t>
            </a:r>
          </a:p>
        </p:txBody>
      </p:sp>
    </p:spTree>
    <p:extLst>
      <p:ext uri="{BB962C8B-B14F-4D97-AF65-F5344CB8AC3E}">
        <p14:creationId xmlns:p14="http://schemas.microsoft.com/office/powerpoint/2010/main" val="10294327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with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839585" y="814647"/>
            <a:ext cx="3507971" cy="3773978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4774276" y="814647"/>
            <a:ext cx="3507971" cy="3773978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839585" y="5021478"/>
            <a:ext cx="7442662" cy="965200"/>
          </a:xfrm>
        </p:spPr>
        <p:txBody>
          <a:bodyPr anchor="t">
            <a:normAutofit/>
          </a:bodyPr>
          <a:lstStyle>
            <a:lvl1pPr>
              <a:defRPr sz="2200">
                <a:latin typeface="+mn-lt"/>
              </a:defRPr>
            </a:lvl1pPr>
          </a:lstStyle>
          <a:p>
            <a:pPr lvl="0"/>
            <a:r>
              <a:rPr lang="en-US" dirty="0"/>
              <a:t>Text…</a:t>
            </a:r>
          </a:p>
        </p:txBody>
      </p:sp>
    </p:spTree>
    <p:extLst>
      <p:ext uri="{BB962C8B-B14F-4D97-AF65-F5344CB8AC3E}">
        <p14:creationId xmlns:p14="http://schemas.microsoft.com/office/powerpoint/2010/main" val="35419024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No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-7315" y="-7315"/>
            <a:ext cx="9144000" cy="6865315"/>
          </a:xfrm>
          <a:effectLst/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41691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No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-7315" y="1031777"/>
            <a:ext cx="9144000" cy="477882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60758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No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839585" y="814647"/>
            <a:ext cx="7489768" cy="5228706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52297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No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839585" y="814647"/>
            <a:ext cx="3507971" cy="518714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4774276" y="814647"/>
            <a:ext cx="3507971" cy="518714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04768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609600"/>
            <a:ext cx="6347713" cy="1320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9" y="2160983"/>
            <a:ext cx="309067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99" y="2737246"/>
            <a:ext cx="3090672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66640" y="2160983"/>
            <a:ext cx="309067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66640" y="2737246"/>
            <a:ext cx="3090672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27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137704"/>
      </p:ext>
    </p:extLst>
  </p:cSld>
  <p:clrMapOvr>
    <a:masterClrMapping/>
  </p:clrMapOvr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 Lef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647210" y="1233820"/>
            <a:ext cx="3960262" cy="1828810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4647211" y="3069758"/>
            <a:ext cx="3960262" cy="3048380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2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-4038" y="-7315"/>
            <a:ext cx="3585172" cy="268887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45029" y="3290206"/>
            <a:ext cx="2649146" cy="2174875"/>
          </a:xfrm>
        </p:spPr>
        <p:txBody>
          <a:bodyPr anchor="t">
            <a:normAutofit/>
          </a:bodyPr>
          <a:lstStyle>
            <a:lvl1pPr algn="r">
              <a:defRPr sz="2700"/>
            </a:lvl1pPr>
          </a:lstStyle>
          <a:p>
            <a:pPr lvl="0"/>
            <a:r>
              <a:rPr lang="en-US" dirty="0"/>
              <a:t>Left Photo Slide 1</a:t>
            </a:r>
          </a:p>
        </p:txBody>
      </p:sp>
    </p:spTree>
    <p:extLst>
      <p:ext uri="{BB962C8B-B14F-4D97-AF65-F5344CB8AC3E}">
        <p14:creationId xmlns:p14="http://schemas.microsoft.com/office/powerpoint/2010/main" val="166825198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 Lef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-4038" y="-1"/>
            <a:ext cx="3960402" cy="6858001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4579756" y="2702503"/>
            <a:ext cx="3960262" cy="3151156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79756" y="2085142"/>
            <a:ext cx="3960262" cy="603041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Left Photo Slide 2</a:t>
            </a:r>
          </a:p>
        </p:txBody>
      </p:sp>
    </p:spTree>
    <p:extLst>
      <p:ext uri="{BB962C8B-B14F-4D97-AF65-F5344CB8AC3E}">
        <p14:creationId xmlns:p14="http://schemas.microsoft.com/office/powerpoint/2010/main" val="105434620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 Lef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5726498" y="2702503"/>
            <a:ext cx="2817895" cy="3151156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5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-7315" y="-2744"/>
            <a:ext cx="2618333" cy="6858000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2611018" y="-2744"/>
            <a:ext cx="2488379" cy="3429000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2"/>
          </p:nvPr>
        </p:nvSpPr>
        <p:spPr>
          <a:xfrm>
            <a:off x="2611018" y="3426256"/>
            <a:ext cx="2488379" cy="3431745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726498" y="1753738"/>
            <a:ext cx="2677274" cy="914401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Left Photo Slide 3</a:t>
            </a:r>
          </a:p>
        </p:txBody>
      </p:sp>
    </p:spTree>
    <p:extLst>
      <p:ext uri="{BB962C8B-B14F-4D97-AF65-F5344CB8AC3E}">
        <p14:creationId xmlns:p14="http://schemas.microsoft.com/office/powerpoint/2010/main" val="13172279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 Righ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29841" y="1219190"/>
            <a:ext cx="3960262" cy="1828810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629842" y="3055128"/>
            <a:ext cx="3960262" cy="3048380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2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58828" y="-7315"/>
            <a:ext cx="3585172" cy="2688879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42179" y="3290206"/>
            <a:ext cx="2685822" cy="2174875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Right Photo Slide 1</a:t>
            </a:r>
          </a:p>
        </p:txBody>
      </p:sp>
    </p:spTree>
    <p:extLst>
      <p:ext uri="{BB962C8B-B14F-4D97-AF65-F5344CB8AC3E}">
        <p14:creationId xmlns:p14="http://schemas.microsoft.com/office/powerpoint/2010/main" val="25080158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 Righ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2565" y="-1"/>
            <a:ext cx="3960402" cy="6858001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629847" y="2709818"/>
            <a:ext cx="3960262" cy="3151156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29847" y="2106778"/>
            <a:ext cx="3960262" cy="595725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Right Photo Slide 2</a:t>
            </a:r>
          </a:p>
        </p:txBody>
      </p:sp>
    </p:spTree>
    <p:extLst>
      <p:ext uri="{BB962C8B-B14F-4D97-AF65-F5344CB8AC3E}">
        <p14:creationId xmlns:p14="http://schemas.microsoft.com/office/powerpoint/2010/main" val="260089599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on Righ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629833" y="2702503"/>
            <a:ext cx="2817895" cy="3151156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5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24188" y="-1"/>
            <a:ext cx="2618333" cy="6858001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4030306" y="-1"/>
            <a:ext cx="2485479" cy="3421505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2"/>
          </p:nvPr>
        </p:nvSpPr>
        <p:spPr>
          <a:xfrm>
            <a:off x="4030307" y="3421504"/>
            <a:ext cx="2485478" cy="3436496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9832" y="1710752"/>
            <a:ext cx="2826298" cy="991752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Right Photo Slide 3</a:t>
            </a:r>
          </a:p>
        </p:txBody>
      </p:sp>
    </p:spTree>
    <p:extLst>
      <p:ext uri="{BB962C8B-B14F-4D97-AF65-F5344CB8AC3E}">
        <p14:creationId xmlns:p14="http://schemas.microsoft.com/office/powerpoint/2010/main" val="48262524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2565" y="-7316"/>
            <a:ext cx="3960402" cy="6865315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84668" y="2221605"/>
            <a:ext cx="3905441" cy="325437"/>
          </a:xfrm>
        </p:spPr>
        <p:txBody>
          <a:bodyPr>
            <a:noAutofit/>
          </a:bodyPr>
          <a:lstStyle>
            <a:lvl1pPr marL="0" indent="0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Manager Tit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684277" y="2702503"/>
            <a:ext cx="3905832" cy="3151156"/>
          </a:xfrm>
        </p:spPr>
        <p:txBody>
          <a:bodyPr>
            <a:noAutofit/>
          </a:bodyPr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4277" y="1721542"/>
            <a:ext cx="3905832" cy="500064"/>
          </a:xfrm>
        </p:spPr>
        <p:txBody>
          <a:bodyPr anchor="t">
            <a:normAutofit/>
          </a:bodyPr>
          <a:lstStyle>
            <a:lvl1pPr>
              <a:defRPr sz="3000" b="1"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1381065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 flipV="1">
            <a:off x="4322814" y="1246349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3459621" y="1787642"/>
            <a:ext cx="2165350" cy="217487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799271" y="1787642"/>
            <a:ext cx="2165350" cy="217487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15"/>
          <p:cNvSpPr>
            <a:spLocks noGrp="1"/>
          </p:cNvSpPr>
          <p:nvPr>
            <p:ph type="pic" sz="quarter" idx="22"/>
          </p:nvPr>
        </p:nvSpPr>
        <p:spPr>
          <a:xfrm>
            <a:off x="6122760" y="1787642"/>
            <a:ext cx="2165350" cy="2174875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25" hasCustomPrompt="1"/>
          </p:nvPr>
        </p:nvSpPr>
        <p:spPr>
          <a:xfrm>
            <a:off x="799139" y="4369066"/>
            <a:ext cx="2165481" cy="336550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200" b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26" hasCustomPrompt="1"/>
          </p:nvPr>
        </p:nvSpPr>
        <p:spPr>
          <a:xfrm>
            <a:off x="3459622" y="4366079"/>
            <a:ext cx="2165349" cy="336550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200" b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27" hasCustomPrompt="1"/>
          </p:nvPr>
        </p:nvSpPr>
        <p:spPr>
          <a:xfrm>
            <a:off x="6122629" y="4358568"/>
            <a:ext cx="2165349" cy="349454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200" b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7" name="Text Placeholder 21"/>
          <p:cNvSpPr>
            <a:spLocks noGrp="1"/>
          </p:cNvSpPr>
          <p:nvPr>
            <p:ph type="body" sz="quarter" idx="29" hasCustomPrompt="1"/>
          </p:nvPr>
        </p:nvSpPr>
        <p:spPr>
          <a:xfrm>
            <a:off x="3459490" y="4704753"/>
            <a:ext cx="2165481" cy="336550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 i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30" hasCustomPrompt="1"/>
          </p:nvPr>
        </p:nvSpPr>
        <p:spPr>
          <a:xfrm>
            <a:off x="799139" y="4712068"/>
            <a:ext cx="2165481" cy="336550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 i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31" hasCustomPrompt="1"/>
          </p:nvPr>
        </p:nvSpPr>
        <p:spPr>
          <a:xfrm>
            <a:off x="6122629" y="4715116"/>
            <a:ext cx="2165481" cy="336550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0" i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1" name="Text Placeholder 21"/>
          <p:cNvSpPr>
            <a:spLocks noGrp="1"/>
          </p:cNvSpPr>
          <p:nvPr>
            <p:ph type="body" sz="quarter" idx="33" hasCustomPrompt="1"/>
          </p:nvPr>
        </p:nvSpPr>
        <p:spPr>
          <a:xfrm>
            <a:off x="3459489" y="5047754"/>
            <a:ext cx="2165481" cy="1015312"/>
          </a:xfr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32" name="Text Placeholder 21"/>
          <p:cNvSpPr>
            <a:spLocks noGrp="1"/>
          </p:cNvSpPr>
          <p:nvPr>
            <p:ph type="body" sz="quarter" idx="32" hasCustomPrompt="1"/>
          </p:nvPr>
        </p:nvSpPr>
        <p:spPr>
          <a:xfrm>
            <a:off x="799138" y="5055069"/>
            <a:ext cx="2165481" cy="1007997"/>
          </a:xfr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33" name="Text Placeholder 21"/>
          <p:cNvSpPr>
            <a:spLocks noGrp="1"/>
          </p:cNvSpPr>
          <p:nvPr>
            <p:ph type="body" sz="quarter" idx="34" hasCustomPrompt="1"/>
          </p:nvPr>
        </p:nvSpPr>
        <p:spPr>
          <a:xfrm>
            <a:off x="6122562" y="5055933"/>
            <a:ext cx="2165481" cy="1007133"/>
          </a:xfr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0" y="673974"/>
            <a:ext cx="9144000" cy="482030"/>
          </a:xfrm>
        </p:spPr>
        <p:txBody>
          <a:bodyPr>
            <a:normAutofit/>
          </a:bodyPr>
          <a:lstStyle>
            <a:lvl1pPr algn="ctr">
              <a:defRPr sz="2700"/>
            </a:lvl1pPr>
          </a:lstStyle>
          <a:p>
            <a:pPr lvl="0"/>
            <a:r>
              <a:rPr lang="en-US" dirty="0"/>
              <a:t>Team Slide 1</a:t>
            </a:r>
          </a:p>
        </p:txBody>
      </p:sp>
    </p:spTree>
    <p:extLst>
      <p:ext uri="{BB962C8B-B14F-4D97-AF65-F5344CB8AC3E}">
        <p14:creationId xmlns:p14="http://schemas.microsoft.com/office/powerpoint/2010/main" val="16724041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 flipV="1">
            <a:off x="4322814" y="1246349"/>
            <a:ext cx="499998" cy="1369"/>
          </a:xfrm>
          <a:prstGeom prst="line">
            <a:avLst/>
          </a:prstGeom>
          <a:ln w="50800">
            <a:solidFill>
              <a:srgbClr val="349D9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1"/>
          <p:cNvSpPr>
            <a:spLocks noGrp="1"/>
          </p:cNvSpPr>
          <p:nvPr>
            <p:ph type="body" sz="quarter" idx="25" hasCustomPrompt="1"/>
          </p:nvPr>
        </p:nvSpPr>
        <p:spPr>
          <a:xfrm>
            <a:off x="356" y="4569091"/>
            <a:ext cx="2271376" cy="342999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30" hasCustomPrompt="1"/>
          </p:nvPr>
        </p:nvSpPr>
        <p:spPr>
          <a:xfrm>
            <a:off x="356" y="4919407"/>
            <a:ext cx="2271376" cy="364948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 b="0" i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1" name="Text Placeholder 21"/>
          <p:cNvSpPr>
            <a:spLocks noGrp="1"/>
          </p:cNvSpPr>
          <p:nvPr>
            <p:ph type="body" sz="quarter" idx="32" hasCustomPrompt="1"/>
          </p:nvPr>
        </p:nvSpPr>
        <p:spPr>
          <a:xfrm>
            <a:off x="355" y="5291672"/>
            <a:ext cx="2271377" cy="994230"/>
          </a:xfr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34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275777" y="1838841"/>
            <a:ext cx="2251528" cy="2325903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5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057" y="1838841"/>
            <a:ext cx="2269675" cy="2325903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Picture Placeholder 15"/>
          <p:cNvSpPr>
            <a:spLocks noGrp="1"/>
          </p:cNvSpPr>
          <p:nvPr>
            <p:ph type="pic" sz="quarter" idx="22"/>
          </p:nvPr>
        </p:nvSpPr>
        <p:spPr>
          <a:xfrm>
            <a:off x="4529004" y="1838841"/>
            <a:ext cx="2286481" cy="2325903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7" name="Picture Placeholder 15"/>
          <p:cNvSpPr>
            <a:spLocks noGrp="1"/>
          </p:cNvSpPr>
          <p:nvPr>
            <p:ph type="pic" sz="quarter" idx="35"/>
          </p:nvPr>
        </p:nvSpPr>
        <p:spPr>
          <a:xfrm>
            <a:off x="6822800" y="1838841"/>
            <a:ext cx="2321199" cy="2325903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2279047" y="4569092"/>
            <a:ext cx="2255573" cy="343002"/>
          </a:xfrm>
        </p:spPr>
        <p:txBody>
          <a:bodyPr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9" name="Text Placeholder 21"/>
          <p:cNvSpPr>
            <a:spLocks noGrp="1"/>
          </p:cNvSpPr>
          <p:nvPr>
            <p:ph type="body" sz="quarter" idx="37" hasCustomPrompt="1"/>
          </p:nvPr>
        </p:nvSpPr>
        <p:spPr>
          <a:xfrm>
            <a:off x="2279047" y="4919406"/>
            <a:ext cx="2255573" cy="372266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 b="0" i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0" name="Text Placeholder 21"/>
          <p:cNvSpPr>
            <a:spLocks noGrp="1"/>
          </p:cNvSpPr>
          <p:nvPr>
            <p:ph type="body" sz="quarter" idx="38" hasCustomPrompt="1"/>
          </p:nvPr>
        </p:nvSpPr>
        <p:spPr>
          <a:xfrm>
            <a:off x="2279048" y="5298984"/>
            <a:ext cx="2255572" cy="986918"/>
          </a:xfr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41" name="Text Placeholder 21"/>
          <p:cNvSpPr>
            <a:spLocks noGrp="1"/>
          </p:cNvSpPr>
          <p:nvPr>
            <p:ph type="body" sz="quarter" idx="39" hasCustomPrompt="1"/>
          </p:nvPr>
        </p:nvSpPr>
        <p:spPr>
          <a:xfrm>
            <a:off x="4541935" y="4569091"/>
            <a:ext cx="2307500" cy="343003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42" name="Text Placeholder 21"/>
          <p:cNvSpPr>
            <a:spLocks noGrp="1"/>
          </p:cNvSpPr>
          <p:nvPr>
            <p:ph type="body" sz="quarter" idx="40" hasCustomPrompt="1"/>
          </p:nvPr>
        </p:nvSpPr>
        <p:spPr>
          <a:xfrm>
            <a:off x="4541936" y="4919408"/>
            <a:ext cx="2307500" cy="372258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 b="0" i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3" name="Text Placeholder 21"/>
          <p:cNvSpPr>
            <a:spLocks noGrp="1"/>
          </p:cNvSpPr>
          <p:nvPr>
            <p:ph type="body" sz="quarter" idx="41" hasCustomPrompt="1"/>
          </p:nvPr>
        </p:nvSpPr>
        <p:spPr>
          <a:xfrm>
            <a:off x="4541934" y="5296216"/>
            <a:ext cx="2307501" cy="994235"/>
          </a:xfr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44" name="Text Placeholder 21"/>
          <p:cNvSpPr>
            <a:spLocks noGrp="1"/>
          </p:cNvSpPr>
          <p:nvPr>
            <p:ph type="body" sz="quarter" idx="42" hasCustomPrompt="1"/>
          </p:nvPr>
        </p:nvSpPr>
        <p:spPr>
          <a:xfrm>
            <a:off x="6852047" y="4569090"/>
            <a:ext cx="2291952" cy="343003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45" name="Text Placeholder 21"/>
          <p:cNvSpPr>
            <a:spLocks noGrp="1"/>
          </p:cNvSpPr>
          <p:nvPr>
            <p:ph type="body" sz="quarter" idx="43" hasCustomPrompt="1"/>
          </p:nvPr>
        </p:nvSpPr>
        <p:spPr>
          <a:xfrm>
            <a:off x="6852047" y="4919408"/>
            <a:ext cx="2291953" cy="372258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 b="0" i="1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6" name="Text Placeholder 21"/>
          <p:cNvSpPr>
            <a:spLocks noGrp="1"/>
          </p:cNvSpPr>
          <p:nvPr>
            <p:ph type="body" sz="quarter" idx="44" hasCustomPrompt="1"/>
          </p:nvPr>
        </p:nvSpPr>
        <p:spPr>
          <a:xfrm>
            <a:off x="6852047" y="5298979"/>
            <a:ext cx="2291953" cy="986923"/>
          </a:xfrm>
        </p:spPr>
        <p:txBody>
          <a:bodyPr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-1" y="658850"/>
            <a:ext cx="9136685" cy="497153"/>
          </a:xfrm>
        </p:spPr>
        <p:txBody>
          <a:bodyPr anchor="t">
            <a:normAutofit/>
          </a:bodyPr>
          <a:lstStyle>
            <a:lvl1pPr algn="ctr">
              <a:defRPr sz="2700"/>
            </a:lvl1pPr>
          </a:lstStyle>
          <a:p>
            <a:pPr lvl="0"/>
            <a:r>
              <a:rPr lang="en-US" dirty="0"/>
              <a:t>Team Slide 2</a:t>
            </a:r>
          </a:p>
        </p:txBody>
      </p:sp>
    </p:spTree>
    <p:extLst>
      <p:ext uri="{BB962C8B-B14F-4D97-AF65-F5344CB8AC3E}">
        <p14:creationId xmlns:p14="http://schemas.microsoft.com/office/powerpoint/2010/main" val="88298989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partment of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5431"/>
          <a:stretch/>
        </p:blipFill>
        <p:spPr>
          <a:xfrm>
            <a:off x="2292752" y="1847551"/>
            <a:ext cx="2248580" cy="232412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 flipV="1">
            <a:off x="4322814" y="1246349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16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1332" y="1845774"/>
            <a:ext cx="2303013" cy="2325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845772"/>
            <a:ext cx="2292752" cy="2325899"/>
          </a:xfrm>
          <a:prstGeom prst="rect">
            <a:avLst/>
          </a:prstGeom>
          <a:effectLst/>
        </p:spPr>
      </p:pic>
      <p:sp>
        <p:nvSpPr>
          <p:cNvPr id="50" name="TextBox 49"/>
          <p:cNvSpPr txBox="1"/>
          <p:nvPr userDrawn="1"/>
        </p:nvSpPr>
        <p:spPr>
          <a:xfrm>
            <a:off x="-6926" y="4393627"/>
            <a:ext cx="2299678" cy="20651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3038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sease Control</a:t>
            </a:r>
          </a:p>
          <a:p>
            <a:pPr marL="173038" lv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 Health Statistics</a:t>
            </a: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800" b="0" i="1" kern="1200" dirty="0">
                <a:solidFill>
                  <a:srgbClr val="61A60E"/>
                </a:solidFill>
                <a:latin typeface="+mn-lt"/>
                <a:ea typeface="+mn-ea"/>
                <a:cs typeface="+mn-cs"/>
              </a:rPr>
              <a:t>Initiativ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57B6A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asles</a:t>
            </a:r>
            <a:r>
              <a:rPr lang="en-US" sz="1250" b="0" i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trol</a:t>
            </a: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250" b="0" i="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dAIDS</a:t>
            </a:r>
            <a:endParaRPr lang="en-US" sz="1250" b="0" i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tal Statistics</a:t>
            </a:r>
          </a:p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E. coli, mumps, etc.)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4541332" y="4393628"/>
            <a:ext cx="2303013" cy="20928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3038" lvl="0" indent="0" algn="ctr" defTabSz="914400" rtl="0" eaLnBrk="1" latinLnBrk="0" hangingPunct="1">
              <a:lnSpc>
                <a:spcPct val="90000"/>
              </a:lnSpc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vention and</a:t>
            </a:r>
          </a:p>
          <a:p>
            <a:pPr marL="173038" lvl="0" indent="0" algn="ctr" defTabSz="914400" rtl="0" eaLnBrk="1" latinLnBrk="0" hangingPunct="1">
              <a:lnSpc>
                <a:spcPct val="90000"/>
              </a:lnSpc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munity Health</a:t>
            </a:r>
          </a:p>
          <a:p>
            <a:pPr algn="ctr">
              <a:spcBef>
                <a:spcPts val="1200"/>
              </a:spcBef>
            </a:pPr>
            <a:r>
              <a:rPr lang="en-US" sz="1800" b="0" i="1" kern="1200" dirty="0">
                <a:solidFill>
                  <a:srgbClr val="61A60E"/>
                </a:solidFill>
                <a:latin typeface="+mn-lt"/>
                <a:ea typeface="+mn-ea"/>
                <a:cs typeface="+mn-cs"/>
              </a:rPr>
              <a:t>Initiatives</a:t>
            </a:r>
            <a:endParaRPr lang="en-US" sz="1800" dirty="0">
              <a:solidFill>
                <a:srgbClr val="61A60E"/>
              </a:solidFill>
              <a:latin typeface="+mn-lt"/>
            </a:endParaRPr>
          </a:p>
          <a:p>
            <a:pPr marL="0" algn="ctr" defTabSz="914400" rtl="0" eaLnBrk="1" latinLnBrk="0" hangingPunct="1">
              <a:spcBef>
                <a:spcPts val="12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bacco 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munization Rates</a:t>
            </a:r>
          </a:p>
          <a:p>
            <a:pPr marL="0" algn="ctr" defTabSz="914400" rtl="0" eaLnBrk="1" latinLnBrk="0" hangingPunct="1">
              <a:spcBef>
                <a:spcPts val="6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mily Planning (Title X)</a:t>
            </a:r>
          </a:p>
          <a:p>
            <a:pPr marL="0" algn="ctr" defTabSz="914400" rtl="0" eaLnBrk="1" latinLnBrk="0" hangingPunct="1">
              <a:spcBef>
                <a:spcPts val="6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rijuana Prevention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2292752" y="4393629"/>
            <a:ext cx="2248580" cy="189282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3038" lvl="0" indent="0" algn="ctr" defTabSz="914400" rtl="0" eaLnBrk="1" latinLnBrk="0" hangingPunct="1">
              <a:lnSpc>
                <a:spcPct val="90000"/>
              </a:lnSpc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vironmental</a:t>
            </a:r>
          </a:p>
          <a:p>
            <a:pPr marL="173038" lvl="0" indent="0" algn="ctr" defTabSz="914400" rtl="0" eaLnBrk="1" latinLnBrk="0" hangingPunct="1">
              <a:lnSpc>
                <a:spcPct val="90000"/>
              </a:lnSpc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 Health</a:t>
            </a:r>
          </a:p>
          <a:p>
            <a:pPr algn="ctr">
              <a:spcBef>
                <a:spcPts val="1200"/>
              </a:spcBef>
            </a:pPr>
            <a:r>
              <a:rPr lang="en-US" sz="1800" b="0" i="1" kern="1200" dirty="0">
                <a:solidFill>
                  <a:srgbClr val="61A60E"/>
                </a:solidFill>
                <a:latin typeface="+mn-lt"/>
                <a:ea typeface="+mn-ea"/>
                <a:cs typeface="+mn-cs"/>
              </a:rPr>
              <a:t>Initiatives</a:t>
            </a:r>
            <a:endParaRPr lang="en-US" sz="1800" dirty="0">
              <a:solidFill>
                <a:srgbClr val="61A60E"/>
              </a:solidFill>
              <a:latin typeface="+mn-lt"/>
            </a:endParaRPr>
          </a:p>
          <a:p>
            <a:pPr algn="ctr">
              <a:spcBef>
                <a:spcPts val="12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get</a:t>
            </a:r>
            <a:r>
              <a:rPr lang="en-US" sz="1250" b="0" i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ound Cleanup</a:t>
            </a:r>
            <a:endParaRPr lang="en-US" sz="1250" b="0" i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ctr">
              <a:spcBef>
                <a:spcPts val="6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FAS</a:t>
            </a:r>
          </a:p>
          <a:p>
            <a:pPr algn="ctr">
              <a:spcBef>
                <a:spcPts val="6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esticide Exposures</a:t>
            </a:r>
          </a:p>
        </p:txBody>
      </p:sp>
      <p:sp>
        <p:nvSpPr>
          <p:cNvPr id="53" name="TextBox 52"/>
          <p:cNvSpPr txBox="1"/>
          <p:nvPr userDrawn="1"/>
        </p:nvSpPr>
        <p:spPr>
          <a:xfrm>
            <a:off x="6844345" y="4394913"/>
            <a:ext cx="2299655" cy="216982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3038" lvl="0" indent="0" algn="ctr" defTabSz="914400" rtl="0" eaLnBrk="1" latinLnBrk="0" hangingPunct="1">
              <a:lnSpc>
                <a:spcPct val="90000"/>
              </a:lnSpc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alth Systems</a:t>
            </a:r>
          </a:p>
          <a:p>
            <a:pPr marL="173038" lvl="0" indent="0" algn="ctr" defTabSz="914400" rtl="0" eaLnBrk="1" latinLnBrk="0" hangingPunct="1">
              <a:lnSpc>
                <a:spcPct val="90000"/>
              </a:lnSpc>
              <a:buClr>
                <a:srgbClr val="57B6AF"/>
              </a:buClr>
              <a:buFont typeface="Arial" panose="020B0604020202020204" pitchFamily="34" charset="0"/>
              <a:buNone/>
            </a:pPr>
            <a:r>
              <a:rPr lang="en-US" sz="15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Quality Assurance</a:t>
            </a:r>
          </a:p>
          <a:p>
            <a:pPr algn="ctr">
              <a:spcBef>
                <a:spcPts val="1200"/>
              </a:spcBef>
            </a:pPr>
            <a:r>
              <a:rPr lang="en-US" sz="1800" b="0" i="1" kern="1200" dirty="0">
                <a:solidFill>
                  <a:srgbClr val="61A60E"/>
                </a:solidFill>
                <a:latin typeface="+mn-lt"/>
                <a:ea typeface="+mn-ea"/>
                <a:cs typeface="+mn-cs"/>
              </a:rPr>
              <a:t>Initiatives</a:t>
            </a:r>
            <a:endParaRPr lang="en-US" sz="1800" dirty="0">
              <a:solidFill>
                <a:srgbClr val="61A60E"/>
              </a:solidFill>
              <a:latin typeface="+mn-lt"/>
            </a:endParaRPr>
          </a:p>
          <a:p>
            <a:pPr marL="0" algn="ctr" defTabSz="914400" rtl="0" eaLnBrk="1" latinLnBrk="0" hangingPunct="1">
              <a:spcBef>
                <a:spcPts val="12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pioids</a:t>
            </a:r>
          </a:p>
          <a:p>
            <a:pPr marL="0" algn="ctr" defTabSz="914400" rtl="0" eaLnBrk="1" latinLnBrk="0" hangingPunct="1">
              <a:spcBef>
                <a:spcPts val="6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havioral Health Integration </a:t>
            </a:r>
          </a:p>
          <a:p>
            <a:pPr marL="0" algn="ctr" defTabSz="914400" rtl="0" eaLnBrk="1" latinLnBrk="0" hangingPunct="1">
              <a:spcBef>
                <a:spcPts val="6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ertificate of Need</a:t>
            </a:r>
          </a:p>
          <a:p>
            <a:pPr marL="0" algn="ctr" defTabSz="914400" rtl="0" eaLnBrk="1" latinLnBrk="0" hangingPunct="1">
              <a:spcBef>
                <a:spcPts val="600"/>
              </a:spcBef>
            </a:pPr>
            <a:r>
              <a:rPr lang="en-US" sz="125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ealth Profession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44345" y="1845773"/>
            <a:ext cx="2299655" cy="2325898"/>
          </a:xfrm>
          <a:prstGeom prst="rect">
            <a:avLst/>
          </a:prstGeom>
          <a:effectLst/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-6927" y="671965"/>
            <a:ext cx="9144000" cy="494092"/>
          </a:xfrm>
        </p:spPr>
        <p:txBody>
          <a:bodyPr anchor="t">
            <a:noAutofit/>
          </a:bodyPr>
          <a:lstStyle>
            <a:lvl1pPr>
              <a:defRPr lang="en-US" sz="2700" kern="1200" baseline="0" dirty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pPr lvl="0" algn="ctr"/>
            <a:r>
              <a:rPr lang="en-US" sz="3000" kern="1200" baseline="0" dirty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rPr>
              <a:t>Department of Health</a:t>
            </a:r>
          </a:p>
        </p:txBody>
      </p:sp>
    </p:spTree>
    <p:extLst>
      <p:ext uri="{BB962C8B-B14F-4D97-AF65-F5344CB8AC3E}">
        <p14:creationId xmlns:p14="http://schemas.microsoft.com/office/powerpoint/2010/main" val="12848188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609600"/>
            <a:ext cx="6347714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27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256786"/>
      </p:ext>
    </p:extLst>
  </p:cSld>
  <p:clrMapOvr>
    <a:masterClrMapping/>
  </p:clrMapOvr>
  <p:hf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b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2197" y="1687649"/>
            <a:ext cx="4633450" cy="359009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84278" y="2638650"/>
            <a:ext cx="3126177" cy="1035403"/>
          </a:xfrm>
        </p:spPr>
        <p:txBody>
          <a:bodyPr>
            <a:noAutofit/>
          </a:bodyPr>
          <a:lstStyle>
            <a:lvl1pPr marL="0" indent="0">
              <a:buNone/>
              <a:defRPr sz="220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684277" y="3691263"/>
            <a:ext cx="3126178" cy="2412422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3" name="Picture Placeholder 14"/>
          <p:cNvSpPr>
            <a:spLocks noGrp="1"/>
          </p:cNvSpPr>
          <p:nvPr>
            <p:ph type="pic" sz="quarter" idx="12"/>
          </p:nvPr>
        </p:nvSpPr>
        <p:spPr>
          <a:xfrm>
            <a:off x="4219575" y="1876425"/>
            <a:ext cx="3914775" cy="23241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684278" y="1643610"/>
            <a:ext cx="3126178" cy="852471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Web Presence Screenshot</a:t>
            </a:r>
          </a:p>
        </p:txBody>
      </p:sp>
    </p:spTree>
    <p:extLst>
      <p:ext uri="{BB962C8B-B14F-4D97-AF65-F5344CB8AC3E}">
        <p14:creationId xmlns:p14="http://schemas.microsoft.com/office/powerpoint/2010/main" val="30693946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b Add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2197" y="1687649"/>
            <a:ext cx="4633450" cy="3590095"/>
          </a:xfrm>
          <a:prstGeom prst="rect">
            <a:avLst/>
          </a:prstGeom>
          <a:effectLst/>
        </p:spPr>
      </p:pic>
      <p:sp>
        <p:nvSpPr>
          <p:cNvPr id="14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238625" y="2833688"/>
            <a:ext cx="3876675" cy="557212"/>
          </a:xfrm>
        </p:spPr>
        <p:txBody>
          <a:bodyPr>
            <a:noAutofit/>
          </a:bodyPr>
          <a:lstStyle>
            <a:lvl1pPr marL="0" indent="0" algn="ctr">
              <a:buNone/>
              <a:defRPr sz="2700">
                <a:solidFill>
                  <a:schemeClr val="tx1"/>
                </a:solidFill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www.doh.wa.gov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84278" y="2638650"/>
            <a:ext cx="3126177" cy="1035403"/>
          </a:xfrm>
        </p:spPr>
        <p:txBody>
          <a:bodyPr>
            <a:noAutofit/>
          </a:bodyPr>
          <a:lstStyle>
            <a:lvl1pPr marL="0" indent="0">
              <a:buNone/>
              <a:defRPr sz="220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684277" y="3691263"/>
            <a:ext cx="3126178" cy="2412422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676474" y="1643610"/>
            <a:ext cx="3133982" cy="852471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Web Presence Address</a:t>
            </a:r>
          </a:p>
        </p:txBody>
      </p:sp>
    </p:spTree>
    <p:extLst>
      <p:ext uri="{BB962C8B-B14F-4D97-AF65-F5344CB8AC3E}">
        <p14:creationId xmlns:p14="http://schemas.microsoft.com/office/powerpoint/2010/main" val="22369749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for Large Screen 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860" y="683166"/>
            <a:ext cx="8115083" cy="5457268"/>
          </a:xfrm>
          <a:prstGeom prst="rect">
            <a:avLst/>
          </a:prstGeom>
        </p:spPr>
      </p:pic>
      <p:sp>
        <p:nvSpPr>
          <p:cNvPr id="8" name="Picture Placeholder 14"/>
          <p:cNvSpPr>
            <a:spLocks noGrp="1"/>
          </p:cNvSpPr>
          <p:nvPr>
            <p:ph type="pic" sz="quarter" idx="12"/>
          </p:nvPr>
        </p:nvSpPr>
        <p:spPr>
          <a:xfrm>
            <a:off x="1459148" y="966282"/>
            <a:ext cx="6361889" cy="48768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108151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278" y="2295750"/>
            <a:ext cx="3400619" cy="1035403"/>
          </a:xfrm>
        </p:spPr>
        <p:txBody>
          <a:bodyPr>
            <a:noAutofit/>
          </a:bodyPr>
          <a:lstStyle>
            <a:lvl1pPr marL="0" indent="0">
              <a:buNone/>
              <a:defRPr sz="220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5" hasCustomPrompt="1"/>
          </p:nvPr>
        </p:nvSpPr>
        <p:spPr>
          <a:xfrm>
            <a:off x="684277" y="3348363"/>
            <a:ext cx="3400620" cy="2412422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3470" y="848632"/>
            <a:ext cx="2501674" cy="5102225"/>
          </a:xfrm>
          <a:prstGeom prst="rect">
            <a:avLst/>
          </a:prstGeom>
          <a:effectLst/>
        </p:spPr>
      </p:pic>
      <p:sp>
        <p:nvSpPr>
          <p:cNvPr id="9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5464630" y="1763486"/>
            <a:ext cx="2126342" cy="3302000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4276" y="1300708"/>
            <a:ext cx="3400621" cy="869681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Mobile Presence Screenshot</a:t>
            </a:r>
          </a:p>
        </p:txBody>
      </p:sp>
    </p:spTree>
    <p:extLst>
      <p:ext uri="{BB962C8B-B14F-4D97-AF65-F5344CB8AC3E}">
        <p14:creationId xmlns:p14="http://schemas.microsoft.com/office/powerpoint/2010/main" val="79852212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Add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84278" y="2295750"/>
            <a:ext cx="3400619" cy="1035403"/>
          </a:xfrm>
        </p:spPr>
        <p:txBody>
          <a:bodyPr>
            <a:noAutofit/>
          </a:bodyPr>
          <a:lstStyle>
            <a:lvl1pPr marL="0" indent="0">
              <a:buNone/>
              <a:defRPr sz="2200" i="0">
                <a:solidFill>
                  <a:schemeClr val="tx1"/>
                </a:solidFill>
                <a:latin typeface="+mn-lt"/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Text…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5" hasCustomPrompt="1"/>
          </p:nvPr>
        </p:nvSpPr>
        <p:spPr>
          <a:xfrm>
            <a:off x="684277" y="3348363"/>
            <a:ext cx="3400620" cy="2412422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Text…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3470" y="848632"/>
            <a:ext cx="2501674" cy="5102225"/>
          </a:xfrm>
          <a:prstGeom prst="rect">
            <a:avLst/>
          </a:prstGeom>
          <a:effectLst/>
        </p:spPr>
      </p:pic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5435295" y="3264478"/>
            <a:ext cx="2181225" cy="40957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280988" indent="0">
              <a:buNone/>
              <a:defRPr/>
            </a:lvl2pPr>
            <a:lvl3pPr marL="519113" indent="0">
              <a:buNone/>
              <a:defRPr/>
            </a:lvl3pPr>
            <a:lvl4pPr marL="747713" indent="0">
              <a:buNone/>
              <a:defRPr/>
            </a:lvl4pPr>
            <a:lvl5pPr marL="741363" indent="0">
              <a:buNone/>
              <a:defRPr/>
            </a:lvl5pPr>
          </a:lstStyle>
          <a:p>
            <a:pPr lvl="0"/>
            <a:r>
              <a:rPr lang="en-US" dirty="0"/>
              <a:t>www.doh.wa.gov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 algn="ctr"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4276" y="1300709"/>
            <a:ext cx="3400621" cy="852471"/>
          </a:xfrm>
        </p:spPr>
        <p:txBody>
          <a:bodyPr anchor="t">
            <a:normAutofit/>
          </a:bodyPr>
          <a:lstStyle>
            <a:lvl1pPr>
              <a:defRPr sz="2700"/>
            </a:lvl1pPr>
          </a:lstStyle>
          <a:p>
            <a:pPr lvl="0"/>
            <a:r>
              <a:rPr lang="en-US" dirty="0"/>
              <a:t>Mobile Presence Address</a:t>
            </a:r>
          </a:p>
        </p:txBody>
      </p:sp>
    </p:spTree>
    <p:extLst>
      <p:ext uri="{BB962C8B-B14F-4D97-AF65-F5344CB8AC3E}">
        <p14:creationId xmlns:p14="http://schemas.microsoft.com/office/powerpoint/2010/main" val="24938228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 flipV="1">
            <a:off x="4322814" y="3549371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-8926" y="2971334"/>
            <a:ext cx="9166143" cy="467387"/>
          </a:xfrm>
        </p:spPr>
        <p:txBody>
          <a:bodyPr anchor="t">
            <a:noAutofit/>
          </a:bodyPr>
          <a:lstStyle>
            <a:lvl1pPr algn="ctr">
              <a:defRPr sz="3000"/>
            </a:lvl1pPr>
          </a:lstStyle>
          <a:p>
            <a:pPr lvl="0"/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22656438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/>
          <p:cNvCxnSpPr/>
          <p:nvPr userDrawn="1"/>
        </p:nvCxnSpPr>
        <p:spPr>
          <a:xfrm flipV="1">
            <a:off x="4322814" y="1246349"/>
            <a:ext cx="499998" cy="1369"/>
          </a:xfrm>
          <a:prstGeom prst="line">
            <a:avLst/>
          </a:prstGeom>
          <a:ln w="50800">
            <a:solidFill>
              <a:srgbClr val="CB8A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flipV="1">
            <a:off x="4322814" y="1246747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3341910" y="4739419"/>
            <a:ext cx="2473324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3341910" y="5067436"/>
            <a:ext cx="2473324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35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3341910" y="4313395"/>
            <a:ext cx="2473324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6" name="Picture Placeholder 19"/>
          <p:cNvSpPr>
            <a:spLocks noGrp="1"/>
          </p:cNvSpPr>
          <p:nvPr>
            <p:ph type="pic" sz="quarter" idx="14"/>
          </p:nvPr>
        </p:nvSpPr>
        <p:spPr>
          <a:xfrm>
            <a:off x="3341910" y="1554491"/>
            <a:ext cx="2473325" cy="2487612"/>
          </a:xfrm>
        </p:spPr>
        <p:txBody>
          <a:bodyPr/>
          <a:lstStyle>
            <a:lvl1pPr marL="0" indent="0">
              <a:buNone/>
              <a:def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5569077"/>
            <a:ext cx="9144000" cy="269274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280988" indent="0">
              <a:buNone/>
              <a:defRPr sz="1600">
                <a:solidFill>
                  <a:srgbClr val="CB8A49"/>
                </a:solidFill>
              </a:defRPr>
            </a:lvl2pPr>
            <a:lvl3pPr marL="519113" indent="0">
              <a:buNone/>
              <a:defRPr sz="1600">
                <a:solidFill>
                  <a:srgbClr val="CB8A49"/>
                </a:solidFill>
              </a:defRPr>
            </a:lvl3pPr>
            <a:lvl4pPr marL="747713" indent="0">
              <a:buNone/>
              <a:defRPr sz="1600">
                <a:solidFill>
                  <a:srgbClr val="CB8A49"/>
                </a:solidFill>
              </a:defRPr>
            </a:lvl4pPr>
            <a:lvl5pPr marL="741363" indent="0">
              <a:buNone/>
              <a:defRPr sz="1600">
                <a:solidFill>
                  <a:srgbClr val="CB8A49"/>
                </a:solidFill>
              </a:defRPr>
            </a:lvl5pPr>
          </a:lstStyle>
          <a:p>
            <a:pPr lvl="0"/>
            <a:r>
              <a:rPr lang="en-US" dirty="0"/>
              <a:t>www.doh.wa.gov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-8311" y="6430954"/>
            <a:ext cx="91523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@</a:t>
            </a:r>
            <a:r>
              <a:rPr lang="en-US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WADeptHealth</a:t>
            </a:r>
            <a:endParaRPr lang="en-US" sz="14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4" name="Group 3"/>
          <p:cNvGrpSpPr/>
          <p:nvPr userDrawn="1"/>
        </p:nvGrpSpPr>
        <p:grpSpPr>
          <a:xfrm>
            <a:off x="3453442" y="6023448"/>
            <a:ext cx="2220414" cy="306578"/>
            <a:chOff x="3453442" y="6023448"/>
            <a:chExt cx="2220414" cy="306578"/>
          </a:xfrm>
        </p:grpSpPr>
        <p:sp>
          <p:nvSpPr>
            <p:cNvPr id="47" name="Rounded Rectangle 46"/>
            <p:cNvSpPr/>
            <p:nvPr userDrawn="1"/>
          </p:nvSpPr>
          <p:spPr>
            <a:xfrm>
              <a:off x="4601301" y="6025149"/>
              <a:ext cx="309033" cy="304877"/>
            </a:xfrm>
            <a:prstGeom prst="roundRect">
              <a:avLst/>
            </a:prstGeom>
            <a:solidFill>
              <a:srgbClr val="349D96"/>
            </a:solidFill>
            <a:ln>
              <a:solidFill>
                <a:srgbClr val="349D96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7" name="Group 26"/>
            <p:cNvGrpSpPr/>
            <p:nvPr userDrawn="1"/>
          </p:nvGrpSpPr>
          <p:grpSpPr>
            <a:xfrm>
              <a:off x="3453442" y="6023448"/>
              <a:ext cx="2220414" cy="304877"/>
              <a:chOff x="3474400" y="6042620"/>
              <a:chExt cx="2220414" cy="304877"/>
            </a:xfrm>
          </p:grpSpPr>
          <p:grpSp>
            <p:nvGrpSpPr>
              <p:cNvPr id="28" name="Group 27"/>
              <p:cNvGrpSpPr/>
              <p:nvPr userDrawn="1"/>
            </p:nvGrpSpPr>
            <p:grpSpPr>
              <a:xfrm>
                <a:off x="3474400" y="6042620"/>
                <a:ext cx="2220414" cy="304877"/>
                <a:chOff x="3474400" y="6042620"/>
                <a:chExt cx="2220414" cy="304877"/>
              </a:xfrm>
            </p:grpSpPr>
            <p:sp>
              <p:nvSpPr>
                <p:cNvPr id="31" name="Rounded Rectangle 30"/>
                <p:cNvSpPr/>
                <p:nvPr userDrawn="1"/>
              </p:nvSpPr>
              <p:spPr>
                <a:xfrm>
                  <a:off x="5004078" y="6044349"/>
                  <a:ext cx="309033" cy="301752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3" name="Rounded Rectangle 32"/>
                <p:cNvSpPr/>
                <p:nvPr userDrawn="1"/>
              </p:nvSpPr>
              <p:spPr>
                <a:xfrm>
                  <a:off x="3474400" y="6042620"/>
                  <a:ext cx="309033" cy="304877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4" name="Rounded Rectangle 33"/>
                <p:cNvSpPr/>
                <p:nvPr userDrawn="1"/>
              </p:nvSpPr>
              <p:spPr>
                <a:xfrm>
                  <a:off x="3857020" y="6042620"/>
                  <a:ext cx="309033" cy="304877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7" name="Rounded Rectangle 36"/>
                <p:cNvSpPr/>
                <p:nvPr userDrawn="1"/>
              </p:nvSpPr>
              <p:spPr>
                <a:xfrm>
                  <a:off x="4239640" y="6042620"/>
                  <a:ext cx="309033" cy="304877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pic>
              <p:nvPicPr>
                <p:cNvPr id="38" name="Picture 37"/>
                <p:cNvPicPr>
                  <a:picLocks noChangeAspect="1"/>
                </p:cNvPicPr>
                <p:nvPr userDrawn="1"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78577" y="6086598"/>
                  <a:ext cx="230281" cy="230281"/>
                </a:xfrm>
                <a:prstGeom prst="rect">
                  <a:avLst/>
                </a:prstGeom>
              </p:spPr>
            </p:pic>
            <p:pic>
              <p:nvPicPr>
                <p:cNvPr id="39" name="Picture 38"/>
                <p:cNvPicPr>
                  <a:picLocks noChangeAspect="1"/>
                </p:cNvPicPr>
                <p:nvPr userDrawn="1"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867624" y="6061235"/>
                  <a:ext cx="278331" cy="278331"/>
                </a:xfrm>
                <a:prstGeom prst="rect">
                  <a:avLst/>
                </a:prstGeom>
              </p:spPr>
            </p:pic>
            <p:pic>
              <p:nvPicPr>
                <p:cNvPr id="40" name="Picture 39"/>
                <p:cNvPicPr>
                  <a:picLocks noChangeAspect="1"/>
                </p:cNvPicPr>
                <p:nvPr userDrawn="1"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623176" y="6091680"/>
                  <a:ext cx="307200" cy="207343"/>
                </a:xfrm>
                <a:prstGeom prst="rect">
                  <a:avLst/>
                </a:prstGeom>
              </p:spPr>
            </p:pic>
            <p:pic>
              <p:nvPicPr>
                <p:cNvPr id="41" name="Picture 40"/>
                <p:cNvPicPr>
                  <a:picLocks noChangeAspect="1"/>
                </p:cNvPicPr>
                <p:nvPr userDrawn="1"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33027" y="6099881"/>
                  <a:ext cx="250032" cy="204014"/>
                </a:xfrm>
                <a:prstGeom prst="rect">
                  <a:avLst/>
                </a:prstGeom>
              </p:spPr>
            </p:pic>
            <p:sp>
              <p:nvSpPr>
                <p:cNvPr id="43" name="Rounded Rectangle 42"/>
                <p:cNvSpPr/>
                <p:nvPr userDrawn="1"/>
              </p:nvSpPr>
              <p:spPr>
                <a:xfrm>
                  <a:off x="5385781" y="6042664"/>
                  <a:ext cx="309033" cy="301752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pic>
              <p:nvPicPr>
                <p:cNvPr id="44" name="Picture 43"/>
                <p:cNvPicPr>
                  <a:picLocks noChangeAspect="1"/>
                </p:cNvPicPr>
                <p:nvPr userDrawn="1"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51424" y="6103485"/>
                  <a:ext cx="185101" cy="191227"/>
                </a:xfrm>
                <a:prstGeom prst="rect">
                  <a:avLst/>
                </a:prstGeom>
              </p:spPr>
            </p:pic>
          </p:grpSp>
          <p:pic>
            <p:nvPicPr>
              <p:cNvPr id="30" name="Picture 29"/>
              <p:cNvPicPr>
                <a:picLocks noChangeAspect="1"/>
              </p:cNvPicPr>
              <p:nvPr userDrawn="1"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37763" y="6126275"/>
                <a:ext cx="196145" cy="159493"/>
              </a:xfrm>
              <a:prstGeom prst="rect">
                <a:avLst/>
              </a:prstGeom>
            </p:spPr>
          </p:pic>
        </p:grpSp>
      </p:grpSp>
      <p:sp>
        <p:nvSpPr>
          <p:cNvPr id="45" name="Title 2"/>
          <p:cNvSpPr>
            <a:spLocks noGrp="1"/>
          </p:cNvSpPr>
          <p:nvPr>
            <p:ph type="title" hasCustomPrompt="1"/>
          </p:nvPr>
        </p:nvSpPr>
        <p:spPr>
          <a:xfrm>
            <a:off x="-8311" y="663993"/>
            <a:ext cx="9135687" cy="520628"/>
          </a:xfrm>
        </p:spPr>
        <p:txBody>
          <a:bodyPr>
            <a:normAutofit/>
          </a:bodyPr>
          <a:lstStyle>
            <a:lvl1pPr algn="ctr">
              <a:defRPr sz="2700"/>
            </a:lvl1pPr>
          </a:lstStyle>
          <a:p>
            <a:pPr lvl="0"/>
            <a:r>
              <a:rPr lang="en-US" dirty="0"/>
              <a:t>Contact 1</a:t>
            </a:r>
          </a:p>
        </p:txBody>
      </p:sp>
    </p:spTree>
    <p:extLst>
      <p:ext uri="{BB962C8B-B14F-4D97-AF65-F5344CB8AC3E}">
        <p14:creationId xmlns:p14="http://schemas.microsoft.com/office/powerpoint/2010/main" val="8520165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789114" y="4283999"/>
            <a:ext cx="2484436" cy="412750"/>
          </a:xfr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882595" y="4278472"/>
            <a:ext cx="2487133" cy="41275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B8A49"/>
              </a:buClr>
              <a:buFont typeface="Wingdings" panose="05000000000000000000" pitchFamily="2" charset="2"/>
              <a:buNone/>
            </a:pPr>
            <a:r>
              <a:rPr lang="en-US" dirty="0"/>
              <a:t>Nam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7" hasCustomPrompt="1"/>
          </p:nvPr>
        </p:nvSpPr>
        <p:spPr>
          <a:xfrm>
            <a:off x="1789113" y="4705635"/>
            <a:ext cx="2484437" cy="314335"/>
          </a:xfrm>
        </p:spPr>
        <p:txBody>
          <a:bodyPr/>
          <a:lstStyle>
            <a:lvl1pPr marL="0" indent="0" algn="ctr">
              <a:buNone/>
              <a:defRPr sz="2000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879975" y="4700174"/>
            <a:ext cx="2487132" cy="314335"/>
          </a:xfrm>
        </p:spPr>
        <p:txBody>
          <a:bodyPr>
            <a:normAutofit/>
          </a:bodyPr>
          <a:lstStyle>
            <a:lvl1pPr marL="0" indent="0" algn="ctr">
              <a:buNone/>
              <a:defRPr lang="en-US" sz="200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B8A49"/>
              </a:buClr>
              <a:buFont typeface="Wingdings" panose="05000000000000000000" pitchFamily="2" charset="2"/>
              <a:buNone/>
            </a:pPr>
            <a:r>
              <a:rPr lang="en-US" dirty="0"/>
              <a:t>Titl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9" hasCustomPrompt="1"/>
          </p:nvPr>
        </p:nvSpPr>
        <p:spPr>
          <a:xfrm>
            <a:off x="1789113" y="5028139"/>
            <a:ext cx="2484437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29" name="Text Placeholder 27"/>
          <p:cNvSpPr>
            <a:spLocks noGrp="1"/>
          </p:cNvSpPr>
          <p:nvPr>
            <p:ph type="body" sz="quarter" idx="20" hasCustomPrompt="1"/>
          </p:nvPr>
        </p:nvSpPr>
        <p:spPr>
          <a:xfrm>
            <a:off x="4882670" y="5023461"/>
            <a:ext cx="2484437" cy="37465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ogram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V="1">
            <a:off x="4322814" y="1246349"/>
            <a:ext cx="499998" cy="1369"/>
          </a:xfrm>
          <a:prstGeom prst="line">
            <a:avLst/>
          </a:prstGeom>
          <a:ln w="50800">
            <a:solidFill>
              <a:srgbClr val="CB8A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V="1">
            <a:off x="4322814" y="1246747"/>
            <a:ext cx="499998" cy="1369"/>
          </a:xfrm>
          <a:prstGeom prst="line">
            <a:avLst/>
          </a:prstGeom>
          <a:ln w="50800">
            <a:solidFill>
              <a:srgbClr val="61A60E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1789113" y="1564831"/>
            <a:ext cx="2484437" cy="2487612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6" name="Picture Placeholder 19"/>
          <p:cNvSpPr>
            <a:spLocks noGrp="1"/>
          </p:cNvSpPr>
          <p:nvPr>
            <p:ph type="pic" sz="quarter" idx="14"/>
          </p:nvPr>
        </p:nvSpPr>
        <p:spPr>
          <a:xfrm>
            <a:off x="4879975" y="1559082"/>
            <a:ext cx="2473325" cy="2487617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5569077"/>
            <a:ext cx="9144000" cy="269274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280988" indent="0">
              <a:buNone/>
              <a:defRPr sz="1600">
                <a:solidFill>
                  <a:srgbClr val="CB8A49"/>
                </a:solidFill>
              </a:defRPr>
            </a:lvl2pPr>
            <a:lvl3pPr marL="519113" indent="0">
              <a:buNone/>
              <a:defRPr sz="1600">
                <a:solidFill>
                  <a:srgbClr val="CB8A49"/>
                </a:solidFill>
              </a:defRPr>
            </a:lvl3pPr>
            <a:lvl4pPr marL="747713" indent="0">
              <a:buNone/>
              <a:defRPr sz="1600">
                <a:solidFill>
                  <a:srgbClr val="CB8A49"/>
                </a:solidFill>
              </a:defRPr>
            </a:lvl4pPr>
            <a:lvl5pPr marL="741363" indent="0">
              <a:buNone/>
              <a:defRPr sz="1600">
                <a:solidFill>
                  <a:srgbClr val="CB8A49"/>
                </a:solidFill>
              </a:defRPr>
            </a:lvl5pPr>
          </a:lstStyle>
          <a:p>
            <a:pPr lvl="0"/>
            <a:r>
              <a:rPr lang="en-US" dirty="0"/>
              <a:t>www.doh.wa.gov</a:t>
            </a:r>
          </a:p>
        </p:txBody>
      </p:sp>
      <p:sp>
        <p:nvSpPr>
          <p:cNvPr id="24" name="TextBox 23"/>
          <p:cNvSpPr txBox="1"/>
          <p:nvPr userDrawn="1"/>
        </p:nvSpPr>
        <p:spPr>
          <a:xfrm>
            <a:off x="-8311" y="6430954"/>
            <a:ext cx="91523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@</a:t>
            </a:r>
            <a:r>
              <a:rPr lang="en-US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WADeptHealth</a:t>
            </a:r>
            <a:endParaRPr lang="en-US" sz="14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52" name="Picture 5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8509" y="6086598"/>
            <a:ext cx="230281" cy="23028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-8351" y="664527"/>
            <a:ext cx="9144000" cy="520093"/>
          </a:xfrm>
        </p:spPr>
        <p:txBody>
          <a:bodyPr>
            <a:normAutofit/>
          </a:bodyPr>
          <a:lstStyle>
            <a:lvl1pPr algn="ctr">
              <a:defRPr sz="2700"/>
            </a:lvl1pPr>
          </a:lstStyle>
          <a:p>
            <a:pPr lvl="0"/>
            <a:r>
              <a:rPr lang="en-US" dirty="0"/>
              <a:t>Contact 2</a:t>
            </a:r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3453442" y="6023448"/>
            <a:ext cx="2220414" cy="306578"/>
            <a:chOff x="3453442" y="6023448"/>
            <a:chExt cx="2220414" cy="306578"/>
          </a:xfrm>
        </p:grpSpPr>
        <p:sp>
          <p:nvSpPr>
            <p:cNvPr id="31" name="Rounded Rectangle 30"/>
            <p:cNvSpPr/>
            <p:nvPr userDrawn="1"/>
          </p:nvSpPr>
          <p:spPr>
            <a:xfrm>
              <a:off x="4601301" y="6025149"/>
              <a:ext cx="309033" cy="304877"/>
            </a:xfrm>
            <a:prstGeom prst="roundRect">
              <a:avLst/>
            </a:prstGeom>
            <a:solidFill>
              <a:srgbClr val="349D96"/>
            </a:solidFill>
            <a:ln>
              <a:solidFill>
                <a:srgbClr val="349D96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32" name="Group 31"/>
            <p:cNvGrpSpPr/>
            <p:nvPr userDrawn="1"/>
          </p:nvGrpSpPr>
          <p:grpSpPr>
            <a:xfrm>
              <a:off x="3453442" y="6023448"/>
              <a:ext cx="2220414" cy="304877"/>
              <a:chOff x="3474400" y="6042620"/>
              <a:chExt cx="2220414" cy="304877"/>
            </a:xfrm>
          </p:grpSpPr>
          <p:grpSp>
            <p:nvGrpSpPr>
              <p:cNvPr id="33" name="Group 32"/>
              <p:cNvGrpSpPr/>
              <p:nvPr userDrawn="1"/>
            </p:nvGrpSpPr>
            <p:grpSpPr>
              <a:xfrm>
                <a:off x="3474400" y="6042620"/>
                <a:ext cx="2220414" cy="304877"/>
                <a:chOff x="3474400" y="6042620"/>
                <a:chExt cx="2220414" cy="304877"/>
              </a:xfrm>
            </p:grpSpPr>
            <p:sp>
              <p:nvSpPr>
                <p:cNvPr id="35" name="Rounded Rectangle 34"/>
                <p:cNvSpPr/>
                <p:nvPr userDrawn="1"/>
              </p:nvSpPr>
              <p:spPr>
                <a:xfrm>
                  <a:off x="5004078" y="6044349"/>
                  <a:ext cx="309033" cy="301752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6" name="Rounded Rectangle 35"/>
                <p:cNvSpPr/>
                <p:nvPr userDrawn="1"/>
              </p:nvSpPr>
              <p:spPr>
                <a:xfrm>
                  <a:off x="3474400" y="6042620"/>
                  <a:ext cx="309033" cy="304877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7" name="Rounded Rectangle 36"/>
                <p:cNvSpPr/>
                <p:nvPr userDrawn="1"/>
              </p:nvSpPr>
              <p:spPr>
                <a:xfrm>
                  <a:off x="3857020" y="6042620"/>
                  <a:ext cx="309033" cy="304877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38" name="Rounded Rectangle 37"/>
                <p:cNvSpPr/>
                <p:nvPr userDrawn="1"/>
              </p:nvSpPr>
              <p:spPr>
                <a:xfrm>
                  <a:off x="4239640" y="6042620"/>
                  <a:ext cx="309033" cy="304877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pic>
              <p:nvPicPr>
                <p:cNvPr id="39" name="Picture 38"/>
                <p:cNvPicPr>
                  <a:picLocks noChangeAspect="1"/>
                </p:cNvPicPr>
                <p:nvPr userDrawn="1"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78577" y="6086598"/>
                  <a:ext cx="230281" cy="230281"/>
                </a:xfrm>
                <a:prstGeom prst="rect">
                  <a:avLst/>
                </a:prstGeom>
              </p:spPr>
            </p:pic>
            <p:pic>
              <p:nvPicPr>
                <p:cNvPr id="40" name="Picture 39"/>
                <p:cNvPicPr>
                  <a:picLocks noChangeAspect="1"/>
                </p:cNvPicPr>
                <p:nvPr userDrawn="1"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867624" y="6061235"/>
                  <a:ext cx="278331" cy="278331"/>
                </a:xfrm>
                <a:prstGeom prst="rect">
                  <a:avLst/>
                </a:prstGeom>
              </p:spPr>
            </p:pic>
            <p:pic>
              <p:nvPicPr>
                <p:cNvPr id="41" name="Picture 40"/>
                <p:cNvPicPr>
                  <a:picLocks noChangeAspect="1"/>
                </p:cNvPicPr>
                <p:nvPr userDrawn="1"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623176" y="6091680"/>
                  <a:ext cx="307200" cy="207343"/>
                </a:xfrm>
                <a:prstGeom prst="rect">
                  <a:avLst/>
                </a:prstGeom>
              </p:spPr>
            </p:pic>
            <p:pic>
              <p:nvPicPr>
                <p:cNvPr id="42" name="Picture 41"/>
                <p:cNvPicPr>
                  <a:picLocks noChangeAspect="1"/>
                </p:cNvPicPr>
                <p:nvPr userDrawn="1"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33027" y="6099881"/>
                  <a:ext cx="250032" cy="204014"/>
                </a:xfrm>
                <a:prstGeom prst="rect">
                  <a:avLst/>
                </a:prstGeom>
              </p:spPr>
            </p:pic>
            <p:sp>
              <p:nvSpPr>
                <p:cNvPr id="43" name="Rounded Rectangle 42"/>
                <p:cNvSpPr/>
                <p:nvPr userDrawn="1"/>
              </p:nvSpPr>
              <p:spPr>
                <a:xfrm>
                  <a:off x="5385781" y="6042664"/>
                  <a:ext cx="309033" cy="301752"/>
                </a:xfrm>
                <a:prstGeom prst="roundRect">
                  <a:avLst/>
                </a:prstGeom>
                <a:solidFill>
                  <a:srgbClr val="349D96"/>
                </a:solidFill>
                <a:ln>
                  <a:solidFill>
                    <a:srgbClr val="349D9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pic>
              <p:nvPicPr>
                <p:cNvPr id="56" name="Picture 55"/>
                <p:cNvPicPr>
                  <a:picLocks noChangeAspect="1"/>
                </p:cNvPicPr>
                <p:nvPr userDrawn="1"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51424" y="6103485"/>
                  <a:ext cx="185101" cy="191227"/>
                </a:xfrm>
                <a:prstGeom prst="rect">
                  <a:avLst/>
                </a:prstGeom>
              </p:spPr>
            </p:pic>
          </p:grpSp>
          <p:pic>
            <p:nvPicPr>
              <p:cNvPr id="34" name="Picture 33"/>
              <p:cNvPicPr>
                <a:picLocks noChangeAspect="1"/>
              </p:cNvPicPr>
              <p:nvPr userDrawn="1"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37763" y="6126275"/>
                <a:ext cx="196145" cy="159493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5410077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ith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0" y="63187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61A60E"/>
                </a:solidFill>
                <a:latin typeface="Century Gothic" panose="020B0502020202020204" pitchFamily="34" charset="0"/>
              </a:rPr>
              <a:t>Care Connect Washington |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WA State Department of Health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| </a:t>
            </a:r>
            <a:fld id="{647B4F43-D519-4C1F-A815-23EAD624CF95}" type="slidenum">
              <a:rPr lang="en-US" sz="1800" smtClean="0">
                <a:solidFill>
                  <a:schemeClr val="tx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159441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44279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27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840697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1498604"/>
            <a:ext cx="2790182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1275" y="514925"/>
            <a:ext cx="3386037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99" y="2777069"/>
            <a:ext cx="2790182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DF080-5E8C-48AD-84E5-6C08B304C14E}" type="datetimeFigureOut">
              <a:rPr lang="en-US" dirty="0"/>
              <a:t>10/27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4839422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4800600"/>
            <a:ext cx="6347714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9599" y="609600"/>
            <a:ext cx="6347714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99" y="5367338"/>
            <a:ext cx="6347714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27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871886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-8467" y="-8468"/>
            <a:ext cx="9169805" cy="6874935"/>
            <a:chOff x="-8467" y="-8468"/>
            <a:chExt cx="9169805" cy="6874935"/>
          </a:xfrm>
        </p:grpSpPr>
        <p:sp>
          <p:nvSpPr>
            <p:cNvPr id="7" name="Freeform 6"/>
            <p:cNvSpPr/>
            <p:nvPr/>
          </p:nvSpPr>
          <p:spPr>
            <a:xfrm>
              <a:off x="-8467" y="4013200"/>
              <a:ext cx="457200" cy="2853267"/>
            </a:xfrm>
            <a:custGeom>
              <a:avLst/>
              <a:gdLst/>
              <a:ahLst/>
              <a:cxnLst/>
              <a:rect l="l" t="t" r="r" b="b"/>
              <a:pathLst>
                <a:path w="457200" h="2853267">
                  <a:moveTo>
                    <a:pt x="0" y="0"/>
                  </a:moveTo>
                  <a:lnTo>
                    <a:pt x="457200" y="2853267"/>
                  </a:lnTo>
                  <a:lnTo>
                    <a:pt x="0" y="2844800"/>
                  </a:lnTo>
                  <a:cubicBezTo>
                    <a:pt x="2822" y="1905000"/>
                    <a:pt x="5645" y="965200"/>
                    <a:pt x="0" y="0"/>
                  </a:cubicBez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8" name="Straight Connector 7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Freeform 9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10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11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12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13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Freeform 14"/>
            <p:cNvSpPr/>
            <p:nvPr/>
          </p:nvSpPr>
          <p:spPr>
            <a:xfrm>
              <a:off x="8077231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Freeform 15"/>
            <p:cNvSpPr/>
            <p:nvPr/>
          </p:nvSpPr>
          <p:spPr>
            <a:xfrm>
              <a:off x="8060297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599" y="609600"/>
            <a:ext cx="6347713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9" y="2160590"/>
            <a:ext cx="6347714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5258" y="6041363"/>
            <a:ext cx="6841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0/27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599" y="6041363"/>
            <a:ext cx="46229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4676" y="6041363"/>
            <a:ext cx="5126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3535056D-F555-406B-BF1D-286FE836F60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553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  <p:sldLayoutId id="2147483769" r:id="rId19"/>
    <p:sldLayoutId id="2147483770" r:id="rId20"/>
    <p:sldLayoutId id="2147483672" r:id="rId21"/>
    <p:sldLayoutId id="2147483733" r:id="rId22"/>
    <p:sldLayoutId id="2147483737" r:id="rId23"/>
    <p:sldLayoutId id="2147483734" r:id="rId24"/>
    <p:sldLayoutId id="2147483736" r:id="rId25"/>
    <p:sldLayoutId id="2147483740" r:id="rId26"/>
    <p:sldLayoutId id="2147483666" r:id="rId27"/>
    <p:sldLayoutId id="2147483673" r:id="rId28"/>
    <p:sldLayoutId id="2147483719" r:id="rId29"/>
    <p:sldLayoutId id="2147483674" r:id="rId30"/>
    <p:sldLayoutId id="2147483720" r:id="rId31"/>
    <p:sldLayoutId id="2147483721" r:id="rId32"/>
    <p:sldLayoutId id="2147483675" r:id="rId33"/>
    <p:sldLayoutId id="2147483744" r:id="rId34"/>
    <p:sldLayoutId id="2147483665" r:id="rId35"/>
    <p:sldLayoutId id="2147483677" r:id="rId36"/>
    <p:sldLayoutId id="2147483692" r:id="rId37"/>
    <p:sldLayoutId id="2147483696" r:id="rId38"/>
    <p:sldLayoutId id="2147483694" r:id="rId39"/>
    <p:sldLayoutId id="2147483695" r:id="rId40"/>
    <p:sldLayoutId id="2147483739" r:id="rId41"/>
    <p:sldLayoutId id="2147483702" r:id="rId42"/>
    <p:sldLayoutId id="2147483725" r:id="rId43"/>
    <p:sldLayoutId id="2147483726" r:id="rId44"/>
    <p:sldLayoutId id="2147483727" r:id="rId45"/>
    <p:sldLayoutId id="2147483728" r:id="rId46"/>
    <p:sldLayoutId id="2147483730" r:id="rId47"/>
    <p:sldLayoutId id="2147483731" r:id="rId48"/>
    <p:sldLayoutId id="2147483732" r:id="rId49"/>
    <p:sldLayoutId id="2147483703" r:id="rId50"/>
    <p:sldLayoutId id="2147483704" r:id="rId51"/>
    <p:sldLayoutId id="2147483705" r:id="rId52"/>
    <p:sldLayoutId id="2147483669" r:id="rId53"/>
    <p:sldLayoutId id="2147483706" r:id="rId54"/>
    <p:sldLayoutId id="2147483707" r:id="rId55"/>
    <p:sldLayoutId id="2147483712" r:id="rId56"/>
    <p:sldLayoutId id="2147483711" r:id="rId57"/>
    <p:sldLayoutId id="2147483713" r:id="rId58"/>
    <p:sldLayoutId id="2147483742" r:id="rId59"/>
    <p:sldLayoutId id="2147483714" r:id="rId60"/>
    <p:sldLayoutId id="2147483715" r:id="rId61"/>
    <p:sldLayoutId id="2147483738" r:id="rId62"/>
    <p:sldLayoutId id="2147483667" r:id="rId63"/>
    <p:sldLayoutId id="2147483716" r:id="rId64"/>
    <p:sldLayoutId id="2147483724" r:id="rId65"/>
    <p:sldLayoutId id="2147483718" r:id="rId66"/>
    <p:sldLayoutId id="2147483717" r:id="rId67"/>
    <p:sldLayoutId id="2147483747" r:id="rId68"/>
    <p:sldLayoutId id="2147483748" r:id="rId69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03E88-B4D6-489A-AE8F-40811A9DD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/>
              <a:t>COVID-19 Care Coordination: Addressing the Social Determinants of Health</a:t>
            </a:r>
          </a:p>
        </p:txBody>
      </p:sp>
    </p:spTree>
    <p:extLst>
      <p:ext uri="{BB962C8B-B14F-4D97-AF65-F5344CB8AC3E}">
        <p14:creationId xmlns:p14="http://schemas.microsoft.com/office/powerpoint/2010/main" val="34860351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3DD34-5C27-4F6C-9E70-05F048D8B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800" dirty="0">
                <a:solidFill>
                  <a:srgbClr val="000000"/>
                </a:solidFill>
                <a:latin typeface="Calibri" panose="020F0502020204030204" pitchFamily="34" charset="0"/>
              </a:rPr>
              <a:t>The Immediate Goal</a:t>
            </a:r>
            <a:br>
              <a:rPr lang="en-US" sz="280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br>
              <a:rPr lang="en-US" dirty="0"/>
            </a:b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AE4C95F-67DB-4FAF-AB85-182CC028401A}"/>
              </a:ext>
            </a:extLst>
          </p:cNvPr>
          <p:cNvSpPr/>
          <p:nvPr/>
        </p:nvSpPr>
        <p:spPr>
          <a:xfrm>
            <a:off x="819151" y="2167116"/>
            <a:ext cx="6567070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rgbClr val="000000"/>
                </a:solidFill>
                <a:latin typeface="Calibri" panose="020F0502020204030204" pitchFamily="34" charset="0"/>
              </a:rPr>
              <a:t>Implement and sustain </a:t>
            </a:r>
            <a:r>
              <a:rPr lang="en-US" sz="2800" i="1" dirty="0">
                <a:solidFill>
                  <a:srgbClr val="000000"/>
                </a:solidFill>
                <a:latin typeface="Calibri" panose="020F0502020204030204" pitchFamily="34" charset="0"/>
              </a:rPr>
              <a:t>a system </a:t>
            </a:r>
            <a:r>
              <a:rPr lang="en-US" sz="2800" dirty="0">
                <a:solidFill>
                  <a:srgbClr val="000000"/>
                </a:solidFill>
                <a:latin typeface="Calibri" panose="020F0502020204030204" pitchFamily="34" charset="0"/>
              </a:rPr>
              <a:t>to support people in isolation and quarantine due to illness and/or exposure to COVID-19; reduce community transmission; and support their physical, social and emotional needs during their period of isolation and quarantine.</a:t>
            </a:r>
          </a:p>
        </p:txBody>
      </p:sp>
    </p:spTree>
    <p:extLst>
      <p:ext uri="{BB962C8B-B14F-4D97-AF65-F5344CB8AC3E}">
        <p14:creationId xmlns:p14="http://schemas.microsoft.com/office/powerpoint/2010/main" val="25602457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8FEBB0-4936-48CA-A39E-73E7EFE44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Working with partners to create a system </a:t>
            </a:r>
            <a:br>
              <a:rPr lang="en-US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43E4B3-6B3D-42DC-B761-087F87DBC6FE}"/>
              </a:ext>
            </a:extLst>
          </p:cNvPr>
          <p:cNvSpPr txBox="1"/>
          <p:nvPr/>
        </p:nvSpPr>
        <p:spPr>
          <a:xfrm>
            <a:off x="3616342" y="1277303"/>
            <a:ext cx="4389120" cy="392620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A530B8F-4869-432D-B037-A20A801C111E}"/>
              </a:ext>
            </a:extLst>
          </p:cNvPr>
          <p:cNvSpPr/>
          <p:nvPr/>
        </p:nvSpPr>
        <p:spPr>
          <a:xfrm>
            <a:off x="3223261" y="987132"/>
            <a:ext cx="5636418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100" dirty="0">
                <a:solidFill>
                  <a:schemeClr val="tx2"/>
                </a:solidFill>
                <a:latin typeface="Calibri" panose="020F0502020204030204" pitchFamily="34" charset="0"/>
              </a:rPr>
              <a:t>Short term –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Support people with or exposed to COVID-19 in isolation/quarantine by meeting physical, social, emotional needs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Reduce community transmiss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1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r>
              <a:rPr lang="en-US" sz="2100" dirty="0">
                <a:solidFill>
                  <a:schemeClr val="tx2"/>
                </a:solidFill>
                <a:latin typeface="Calibri" panose="020F0502020204030204" pitchFamily="34" charset="0"/>
              </a:rPr>
              <a:t>Longer term –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Build on and expand existing infrastructure and workforce to meet physical, social, emotional needs post-COVID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Improve health and economic outcom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1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r>
              <a:rPr lang="en-US" sz="2100" dirty="0">
                <a:solidFill>
                  <a:schemeClr val="tx2"/>
                </a:solidFill>
                <a:latin typeface="Calibri" panose="020F0502020204030204" pitchFamily="34" charset="0"/>
              </a:rPr>
              <a:t>Partners –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Federally qualified health cent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Local businesses and national chains </a:t>
            </a:r>
          </a:p>
          <a:p>
            <a:endParaRPr lang="en-US" sz="21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4310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4F0C7E-FBE2-4FE4-9DCD-DD9AF76DA1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139" y="689676"/>
            <a:ext cx="7002428" cy="482030"/>
          </a:xfrm>
        </p:spPr>
        <p:txBody>
          <a:bodyPr>
            <a:normAutofit fontScale="90000"/>
          </a:bodyPr>
          <a:lstStyle/>
          <a:p>
            <a:pPr algn="r"/>
            <a:r>
              <a:rPr lang="en-US" dirty="0"/>
              <a:t>COVID-19 Care Coordination Reach Thus F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7AB1919-F0EE-4C6D-B559-F028915B0AC4}"/>
              </a:ext>
            </a:extLst>
          </p:cNvPr>
          <p:cNvSpPr/>
          <p:nvPr/>
        </p:nvSpPr>
        <p:spPr>
          <a:xfrm>
            <a:off x="604793" y="1699420"/>
            <a:ext cx="6586120" cy="4716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1080  Cases/Contacts assigned to Care Connect WA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914 Cases/Contacts reached or in the process of being contacted.  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166 Cases/Contacts not reached after 3 attempts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418 food orders delivered; 14 deliveries pending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2,997 Care Kits provided; additional 10,000 kits to be delivered in November 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1,150 Food Kits provided; 7,000 Food Kits delivered to Eastern/Western WA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20 Promotoras engaged in community outreach with the 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LatinX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population</a:t>
            </a:r>
          </a:p>
          <a:p>
            <a:endParaRPr lang="en-US" sz="2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8566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7168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Wy37jMqXIo.nDvk0V13g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fc8ba496-191c-4efa-995b-2397535f04d5">
      <Value>Resources</Value>
    </Category>
    <Topic xmlns="fc8ba496-191c-4efa-995b-2397535f04d5">
      <Value>PowerPoint</Value>
    </Topic>
    <_dlc_DocId xmlns="705272f9-4722-48fb-941c-405cda110530">7A4W3MJ5XWKC-2090435860-57</_dlc_DocId>
    <_dlc_DocIdUrl xmlns="705272f9-4722-48fb-941c-405cda110530">
      <Url>https://doh.sp.wa.gov/sites/OS/pr/cpa/_layouts/15/DocIdRedir.aspx?ID=7A4W3MJ5XWKC-2090435860-57</Url>
      <Description>7A4W3MJ5XWKC-2090435860-57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BC0E1661DB1D42B04F1C7F5931BB11" ma:contentTypeVersion="2" ma:contentTypeDescription="Create a new document." ma:contentTypeScope="" ma:versionID="692d5031129c76f3a9023e2c66c644f2">
  <xsd:schema xmlns:xsd="http://www.w3.org/2001/XMLSchema" xmlns:xs="http://www.w3.org/2001/XMLSchema" xmlns:p="http://schemas.microsoft.com/office/2006/metadata/properties" xmlns:ns2="705272f9-4722-48fb-941c-405cda110530" xmlns:ns3="fc8ba496-191c-4efa-995b-2397535f04d5" targetNamespace="http://schemas.microsoft.com/office/2006/metadata/properties" ma:root="true" ma:fieldsID="52e7cbb07a1486ed9b226ddd70231459" ns2:_="" ns3:_="">
    <xsd:import namespace="705272f9-4722-48fb-941c-405cda110530"/>
    <xsd:import namespace="fc8ba496-191c-4efa-995b-2397535f04d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Category" minOccurs="0"/>
                <xsd:element ref="ns3:Topic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5272f9-4722-48fb-941c-405cda110530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8ba496-191c-4efa-995b-2397535f04d5" elementFormDefault="qualified">
    <xsd:import namespace="http://schemas.microsoft.com/office/2006/documentManagement/types"/>
    <xsd:import namespace="http://schemas.microsoft.com/office/infopath/2007/PartnerControls"/>
    <xsd:element name="Category" ma:index="11" nillable="true" ma:displayName="Category" ma:internalName="Category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Resources"/>
                    <xsd:enumeration value="News Release Process"/>
                  </xsd:restriction>
                </xsd:simpleType>
              </xsd:element>
            </xsd:sequence>
          </xsd:extension>
        </xsd:complexContent>
      </xsd:complexType>
    </xsd:element>
    <xsd:element name="Topic" ma:index="12" nillable="true" ma:displayName="Focus Area" ma:internalName="Topic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ollaboration"/>
                    <xsd:enumeration value="Crisis/Risk Communication"/>
                    <xsd:enumeration value="General"/>
                    <xsd:enumeration value="Reports"/>
                    <xsd:enumeration value="Media Relations"/>
                    <xsd:enumeration value="Media Relations Articles"/>
                    <xsd:enumeration value="PowerPoint"/>
                    <xsd:enumeration value="Social Media"/>
                    <xsd:enumeration value="Video"/>
                  </xsd:restriction>
                </xsd:simple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19DCB941-C581-444C-8E3C-E94646AACC21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705272f9-4722-48fb-941c-405cda110530"/>
    <ds:schemaRef ds:uri="http://schemas.microsoft.com/office/2006/documentManagement/types"/>
    <ds:schemaRef ds:uri="fc8ba496-191c-4efa-995b-2397535f04d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0865247-BFF8-4094-A1E3-953AAF60184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4BFAF43-6E03-4D43-8E1E-68CCD63645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5272f9-4722-48fb-941c-405cda110530"/>
    <ds:schemaRef ds:uri="fc8ba496-191c-4efa-995b-2397535f04d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B4F5C952-0622-4D38-B3C6-BA66DD130C24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1360</TotalTime>
  <Words>214</Words>
  <Application>Microsoft Macintosh PowerPoint</Application>
  <PresentationFormat>On-screen Show (4:3)</PresentationFormat>
  <Paragraphs>24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Century Gothic</vt:lpstr>
      <vt:lpstr>Trebuchet MS</vt:lpstr>
      <vt:lpstr>Wingdings</vt:lpstr>
      <vt:lpstr>Wingdings 3</vt:lpstr>
      <vt:lpstr>Facet</vt:lpstr>
      <vt:lpstr>think-cell Slide</vt:lpstr>
      <vt:lpstr>COVID-19 Care Coordination: Addressing the Social Determinants of Health</vt:lpstr>
      <vt:lpstr>The Immediate Goal  </vt:lpstr>
      <vt:lpstr>Working with partners to create a system  </vt:lpstr>
      <vt:lpstr>COVID-19 Care Coordination Reach Thus Far</vt:lpstr>
      <vt:lpstr>PowerPoint Presentation</vt:lpstr>
    </vt:vector>
  </TitlesOfParts>
  <Company>Washington State Department of Healt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mitrova, Simana  (DOH)</dc:creator>
  <cp:lastModifiedBy>Cathy Kaufmann</cp:lastModifiedBy>
  <cp:revision>291</cp:revision>
  <cp:lastPrinted>2019-06-24T22:33:15Z</cp:lastPrinted>
  <dcterms:created xsi:type="dcterms:W3CDTF">2018-03-05T22:02:38Z</dcterms:created>
  <dcterms:modified xsi:type="dcterms:W3CDTF">2020-10-27T16:0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BC0E1661DB1D42B04F1C7F5931BB11</vt:lpwstr>
  </property>
  <property fmtid="{D5CDD505-2E9C-101B-9397-08002B2CF9AE}" pid="3" name="_dlc_DocIdItemGuid">
    <vt:lpwstr>f640e05c-14de-4082-a60c-89c409cdcca4</vt:lpwstr>
  </property>
</Properties>
</file>